
<file path=[Content_Types].xml><?xml version="1.0" encoding="utf-8"?>
<Types xmlns="http://schemas.openxmlformats.org/package/2006/content-types">
  <Default Extension="bin" ContentType="image/png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4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5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embeddings/oleObject1.bin" ContentType="application/vnd.openxmlformats-officedocument.oleObject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embeddings/oleObject2.bin" ContentType="application/vnd.openxmlformats-officedocument.oleObject"/>
  <Override PartName="/ppt/theme/theme4.xml" ContentType="application/vnd.openxmlformats-officedocument.theme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3.bin" ContentType="application/vnd.openxmlformats-officedocument.oleObject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4.bin" ContentType="application/vnd.openxmlformats-officedocument.oleObject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5.bin" ContentType="application/vnd.openxmlformats-officedocument.oleObject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6.xml" ContentType="application/vnd.openxmlformats-officedocument.themeOverride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6.bin" ContentType="application/vnd.openxmlformats-officedocument.oleObject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4"/>
    <p:sldMasterId id="2147483720" r:id="rId5"/>
    <p:sldMasterId id="2147483729" r:id="rId6"/>
  </p:sldMasterIdLst>
  <p:notesMasterIdLst>
    <p:notesMasterId r:id="rId17"/>
  </p:notesMasterIdLst>
  <p:handoutMasterIdLst>
    <p:handoutMasterId r:id="rId18"/>
  </p:handoutMasterIdLst>
  <p:sldIdLst>
    <p:sldId id="2134804369" r:id="rId7"/>
    <p:sldId id="4515" r:id="rId8"/>
    <p:sldId id="4039" r:id="rId9"/>
    <p:sldId id="2134804371" r:id="rId10"/>
    <p:sldId id="844" r:id="rId11"/>
    <p:sldId id="2134804372" r:id="rId12"/>
    <p:sldId id="333" r:id="rId13"/>
    <p:sldId id="1397" r:id="rId14"/>
    <p:sldId id="4453" r:id="rId15"/>
    <p:sldId id="332" r:id="rId16"/>
  </p:sldIdLst>
  <p:sldSz cx="12190413" cy="6858000"/>
  <p:notesSz cx="6794500" cy="9906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a Rechenberger" initials="DR" lastIdx="1" clrIdx="0">
    <p:extLst>
      <p:ext uri="{19B8F6BF-5375-455C-9EA6-DF929625EA0E}">
        <p15:presenceInfo xmlns:p15="http://schemas.microsoft.com/office/powerpoint/2012/main" userId="S::RechenDa@basfad.basf.net::adf47849-416f-4669-986b-274160809fc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DDA2"/>
    <a:srgbClr val="F39500"/>
    <a:srgbClr val="F7B650"/>
    <a:srgbClr val="00793A"/>
    <a:srgbClr val="000000"/>
    <a:srgbClr val="8B8B8B"/>
    <a:srgbClr val="DDDDDD"/>
    <a:srgbClr val="A9D280"/>
    <a:srgbClr val="C50022"/>
    <a:srgbClr val="004A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958" autoAdjust="0"/>
    <p:restoredTop sz="93329" autoAdjust="0"/>
  </p:normalViewPr>
  <p:slideViewPr>
    <p:cSldViewPr snapToGrid="0" showGuides="1">
      <p:cViewPr varScale="1">
        <p:scale>
          <a:sx n="72" d="100"/>
          <a:sy n="72" d="100"/>
        </p:scale>
        <p:origin x="782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3077" y="-365"/>
      </p:cViewPr>
      <p:guideLst>
        <p:guide orient="horz" pos="3120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VAN ALBERTOS GARCIA" userId="c19f33c7-8439-4086-a386-a1ed650887a8" providerId="ADAL" clId="{72FD809B-4713-4EB0-AB30-241724FC9601}"/>
    <pc:docChg chg="undo custSel addSld delSld modSld sldOrd">
      <pc:chgData name="IVAN ALBERTOS GARCIA" userId="c19f33c7-8439-4086-a386-a1ed650887a8" providerId="ADAL" clId="{72FD809B-4713-4EB0-AB30-241724FC9601}" dt="2020-10-01T09:19:08.492" v="1016"/>
      <pc:docMkLst>
        <pc:docMk/>
      </pc:docMkLst>
      <pc:sldChg chg="del">
        <pc:chgData name="IVAN ALBERTOS GARCIA" userId="c19f33c7-8439-4086-a386-a1ed650887a8" providerId="ADAL" clId="{72FD809B-4713-4EB0-AB30-241724FC9601}" dt="2020-09-30T10:29:59.098" v="121" actId="2696"/>
        <pc:sldMkLst>
          <pc:docMk/>
          <pc:sldMk cId="2089021010" sldId="258"/>
        </pc:sldMkLst>
      </pc:sldChg>
      <pc:sldChg chg="del">
        <pc:chgData name="IVAN ALBERTOS GARCIA" userId="c19f33c7-8439-4086-a386-a1ed650887a8" providerId="ADAL" clId="{72FD809B-4713-4EB0-AB30-241724FC9601}" dt="2020-09-30T10:29:59.259" v="122" actId="2696"/>
        <pc:sldMkLst>
          <pc:docMk/>
          <pc:sldMk cId="3924931935" sldId="261"/>
        </pc:sldMkLst>
      </pc:sldChg>
      <pc:sldChg chg="addSp modSp add">
        <pc:chgData name="IVAN ALBERTOS GARCIA" userId="c19f33c7-8439-4086-a386-a1ed650887a8" providerId="ADAL" clId="{72FD809B-4713-4EB0-AB30-241724FC9601}" dt="2020-09-30T11:24:07.902" v="476" actId="1035"/>
        <pc:sldMkLst>
          <pc:docMk/>
          <pc:sldMk cId="72013842" sldId="333"/>
        </pc:sldMkLst>
        <pc:spChg chg="mod">
          <ac:chgData name="IVAN ALBERTOS GARCIA" userId="c19f33c7-8439-4086-a386-a1ed650887a8" providerId="ADAL" clId="{72FD809B-4713-4EB0-AB30-241724FC9601}" dt="2020-09-30T10:33:41.193" v="135" actId="404"/>
          <ac:spMkLst>
            <pc:docMk/>
            <pc:sldMk cId="72013842" sldId="333"/>
            <ac:spMk id="439" creationId="{F2DB3152-CEA2-4AD5-86DE-FD2FC3F9215B}"/>
          </ac:spMkLst>
        </pc:spChg>
        <pc:picChg chg="add mod">
          <ac:chgData name="IVAN ALBERTOS GARCIA" userId="c19f33c7-8439-4086-a386-a1ed650887a8" providerId="ADAL" clId="{72FD809B-4713-4EB0-AB30-241724FC9601}" dt="2020-09-30T10:36:07.023" v="158" actId="1036"/>
          <ac:picMkLst>
            <pc:docMk/>
            <pc:sldMk cId="72013842" sldId="333"/>
            <ac:picMk id="76" creationId="{7C538B37-B5AD-4557-AACD-6F2397728785}"/>
          </ac:picMkLst>
        </pc:picChg>
        <pc:picChg chg="add mod">
          <ac:chgData name="IVAN ALBERTOS GARCIA" userId="c19f33c7-8439-4086-a386-a1ed650887a8" providerId="ADAL" clId="{72FD809B-4713-4EB0-AB30-241724FC9601}" dt="2020-09-30T10:36:07.023" v="158" actId="1036"/>
          <ac:picMkLst>
            <pc:docMk/>
            <pc:sldMk cId="72013842" sldId="333"/>
            <ac:picMk id="77" creationId="{0B6B0B19-00A6-4E6E-B2E7-18174C6E2101}"/>
          </ac:picMkLst>
        </pc:picChg>
        <pc:picChg chg="add mod">
          <ac:chgData name="IVAN ALBERTOS GARCIA" userId="c19f33c7-8439-4086-a386-a1ed650887a8" providerId="ADAL" clId="{72FD809B-4713-4EB0-AB30-241724FC9601}" dt="2020-09-30T10:36:07.023" v="158" actId="1036"/>
          <ac:picMkLst>
            <pc:docMk/>
            <pc:sldMk cId="72013842" sldId="333"/>
            <ac:picMk id="79" creationId="{FDB5B82B-10F4-46E9-8284-F577908E8BDF}"/>
          </ac:picMkLst>
        </pc:picChg>
        <pc:picChg chg="add mod">
          <ac:chgData name="IVAN ALBERTOS GARCIA" userId="c19f33c7-8439-4086-a386-a1ed650887a8" providerId="ADAL" clId="{72FD809B-4713-4EB0-AB30-241724FC9601}" dt="2020-09-30T11:24:07.902" v="476" actId="1035"/>
          <ac:picMkLst>
            <pc:docMk/>
            <pc:sldMk cId="72013842" sldId="333"/>
            <ac:picMk id="80" creationId="{0443F777-5C02-4070-A946-3A584F30A1EF}"/>
          </ac:picMkLst>
        </pc:picChg>
      </pc:sldChg>
      <pc:sldChg chg="addSp delSp modSp add del">
        <pc:chgData name="IVAN ALBERTOS GARCIA" userId="c19f33c7-8439-4086-a386-a1ed650887a8" providerId="ADAL" clId="{72FD809B-4713-4EB0-AB30-241724FC9601}" dt="2020-10-01T07:29:24.352" v="1013" actId="2696"/>
        <pc:sldMkLst>
          <pc:docMk/>
          <pc:sldMk cId="1802025596" sldId="343"/>
        </pc:sldMkLst>
        <pc:spChg chg="mod">
          <ac:chgData name="IVAN ALBERTOS GARCIA" userId="c19f33c7-8439-4086-a386-a1ed650887a8" providerId="ADAL" clId="{72FD809B-4713-4EB0-AB30-241724FC9601}" dt="2020-10-01T07:27:23.697" v="951" actId="14100"/>
          <ac:spMkLst>
            <pc:docMk/>
            <pc:sldMk cId="1802025596" sldId="343"/>
            <ac:spMk id="2" creationId="{00000000-0000-0000-0000-000000000000}"/>
          </ac:spMkLst>
        </pc:spChg>
        <pc:spChg chg="add del">
          <ac:chgData name="IVAN ALBERTOS GARCIA" userId="c19f33c7-8439-4086-a386-a1ed650887a8" providerId="ADAL" clId="{72FD809B-4713-4EB0-AB30-241724FC9601}" dt="2020-09-30T10:32:50.411" v="127"/>
          <ac:spMkLst>
            <pc:docMk/>
            <pc:sldMk cId="1802025596" sldId="343"/>
            <ac:spMk id="8" creationId="{D3378909-6504-486B-880F-BAC01045EDAD}"/>
          </ac:spMkLst>
        </pc:spChg>
        <pc:picChg chg="del">
          <ac:chgData name="IVAN ALBERTOS GARCIA" userId="c19f33c7-8439-4086-a386-a1ed650887a8" providerId="ADAL" clId="{72FD809B-4713-4EB0-AB30-241724FC9601}" dt="2020-09-30T10:33:10.770" v="128" actId="478"/>
          <ac:picMkLst>
            <pc:docMk/>
            <pc:sldMk cId="1802025596" sldId="343"/>
            <ac:picMk id="6" creationId="{9BDCA0AC-E198-454F-A008-A24B4BCFF3E7}"/>
          </ac:picMkLst>
        </pc:picChg>
        <pc:picChg chg="mod">
          <ac:chgData name="IVAN ALBERTOS GARCIA" userId="c19f33c7-8439-4086-a386-a1ed650887a8" providerId="ADAL" clId="{72FD809B-4713-4EB0-AB30-241724FC9601}" dt="2020-10-01T07:26:30.586" v="942" actId="14100"/>
          <ac:picMkLst>
            <pc:docMk/>
            <pc:sldMk cId="1802025596" sldId="343"/>
            <ac:picMk id="26" creationId="{1F0339E2-F801-41BE-B225-7DCCFF7FA058}"/>
          </ac:picMkLst>
        </pc:picChg>
      </pc:sldChg>
      <pc:sldChg chg="delSp add">
        <pc:chgData name="IVAN ALBERTOS GARCIA" userId="c19f33c7-8439-4086-a386-a1ed650887a8" providerId="ADAL" clId="{72FD809B-4713-4EB0-AB30-241724FC9601}" dt="2020-10-01T07:40:40.278" v="1015" actId="478"/>
        <pc:sldMkLst>
          <pc:docMk/>
          <pc:sldMk cId="432124794" sldId="844"/>
        </pc:sldMkLst>
        <pc:spChg chg="del">
          <ac:chgData name="IVAN ALBERTOS GARCIA" userId="c19f33c7-8439-4086-a386-a1ed650887a8" providerId="ADAL" clId="{72FD809B-4713-4EB0-AB30-241724FC9601}" dt="2020-10-01T07:40:08.470" v="1014" actId="478"/>
          <ac:spMkLst>
            <pc:docMk/>
            <pc:sldMk cId="432124794" sldId="844"/>
            <ac:spMk id="55" creationId="{317EF799-129A-4893-A034-8DDC89202D8A}"/>
          </ac:spMkLst>
        </pc:spChg>
        <pc:spChg chg="del">
          <ac:chgData name="IVAN ALBERTOS GARCIA" userId="c19f33c7-8439-4086-a386-a1ed650887a8" providerId="ADAL" clId="{72FD809B-4713-4EB0-AB30-241724FC9601}" dt="2020-10-01T07:40:40.278" v="1015" actId="478"/>
          <ac:spMkLst>
            <pc:docMk/>
            <pc:sldMk cId="432124794" sldId="844"/>
            <ac:spMk id="98" creationId="{00000000-0000-0000-0000-000000000000}"/>
          </ac:spMkLst>
        </pc:spChg>
      </pc:sldChg>
      <pc:sldChg chg="addSp modSp add">
        <pc:chgData name="IVAN ALBERTOS GARCIA" userId="c19f33c7-8439-4086-a386-a1ed650887a8" providerId="ADAL" clId="{72FD809B-4713-4EB0-AB30-241724FC9601}" dt="2020-09-30T11:24:17.382" v="478" actId="1076"/>
        <pc:sldMkLst>
          <pc:docMk/>
          <pc:sldMk cId="1922125851" sldId="1397"/>
        </pc:sldMkLst>
        <pc:spChg chg="mod">
          <ac:chgData name="IVAN ALBERTOS GARCIA" userId="c19f33c7-8439-4086-a386-a1ed650887a8" providerId="ADAL" clId="{72FD809B-4713-4EB0-AB30-241724FC9601}" dt="2020-09-30T10:37:50.025" v="222" actId="20577"/>
          <ac:spMkLst>
            <pc:docMk/>
            <pc:sldMk cId="1922125851" sldId="1397"/>
            <ac:spMk id="5" creationId="{00000000-0000-0000-0000-000000000000}"/>
          </ac:spMkLst>
        </pc:spChg>
        <pc:picChg chg="add mod">
          <ac:chgData name="IVAN ALBERTOS GARCIA" userId="c19f33c7-8439-4086-a386-a1ed650887a8" providerId="ADAL" clId="{72FD809B-4713-4EB0-AB30-241724FC9601}" dt="2020-09-30T11:24:17.382" v="478" actId="1076"/>
          <ac:picMkLst>
            <pc:docMk/>
            <pc:sldMk cId="1922125851" sldId="1397"/>
            <ac:picMk id="6" creationId="{A12E32FC-21D3-4249-B37A-03693310B17E}"/>
          </ac:picMkLst>
        </pc:picChg>
      </pc:sldChg>
      <pc:sldChg chg="addSp ord">
        <pc:chgData name="IVAN ALBERTOS GARCIA" userId="c19f33c7-8439-4086-a386-a1ed650887a8" providerId="ADAL" clId="{72FD809B-4713-4EB0-AB30-241724FC9601}" dt="2020-10-01T09:19:08.492" v="1016"/>
        <pc:sldMkLst>
          <pc:docMk/>
          <pc:sldMk cId="815955347" sldId="4039"/>
        </pc:sldMkLst>
        <pc:picChg chg="add">
          <ac:chgData name="IVAN ALBERTOS GARCIA" userId="c19f33c7-8439-4086-a386-a1ed650887a8" providerId="ADAL" clId="{72FD809B-4713-4EB0-AB30-241724FC9601}" dt="2020-09-30T11:23:52.041" v="469"/>
          <ac:picMkLst>
            <pc:docMk/>
            <pc:sldMk cId="815955347" sldId="4039"/>
            <ac:picMk id="13" creationId="{AEE8290A-1D09-4411-90F4-F9F0A47452FF}"/>
          </ac:picMkLst>
        </pc:picChg>
      </pc:sldChg>
      <pc:sldChg chg="addSp modSp add">
        <pc:chgData name="IVAN ALBERTOS GARCIA" userId="c19f33c7-8439-4086-a386-a1ed650887a8" providerId="ADAL" clId="{72FD809B-4713-4EB0-AB30-241724FC9601}" dt="2020-09-30T11:24:19.478" v="479"/>
        <pc:sldMkLst>
          <pc:docMk/>
          <pc:sldMk cId="1733499171" sldId="4453"/>
        </pc:sldMkLst>
        <pc:spChg chg="mod">
          <ac:chgData name="IVAN ALBERTOS GARCIA" userId="c19f33c7-8439-4086-a386-a1ed650887a8" providerId="ADAL" clId="{72FD809B-4713-4EB0-AB30-241724FC9601}" dt="2020-09-30T10:38:06.577" v="259" actId="20577"/>
          <ac:spMkLst>
            <pc:docMk/>
            <pc:sldMk cId="1733499171" sldId="4453"/>
            <ac:spMk id="5" creationId="{00000000-0000-0000-0000-000000000000}"/>
          </ac:spMkLst>
        </pc:spChg>
        <pc:picChg chg="add">
          <ac:chgData name="IVAN ALBERTOS GARCIA" userId="c19f33c7-8439-4086-a386-a1ed650887a8" providerId="ADAL" clId="{72FD809B-4713-4EB0-AB30-241724FC9601}" dt="2020-09-30T11:24:19.478" v="479"/>
          <ac:picMkLst>
            <pc:docMk/>
            <pc:sldMk cId="1733499171" sldId="4453"/>
            <ac:picMk id="7" creationId="{4E4B642D-988F-4AFD-A89B-6E8DFA124A15}"/>
          </ac:picMkLst>
        </pc:picChg>
        <pc:picChg chg="mod">
          <ac:chgData name="IVAN ALBERTOS GARCIA" userId="c19f33c7-8439-4086-a386-a1ed650887a8" providerId="ADAL" clId="{72FD809B-4713-4EB0-AB30-241724FC9601}" dt="2020-09-30T10:38:42.703" v="260" actId="14100"/>
          <ac:picMkLst>
            <pc:docMk/>
            <pc:sldMk cId="1733499171" sldId="4453"/>
            <ac:picMk id="32775" creationId="{517BE809-5E52-4EF4-98CA-F1BB968F668D}"/>
          </ac:picMkLst>
        </pc:picChg>
      </pc:sldChg>
      <pc:sldChg chg="addSp modSp">
        <pc:chgData name="IVAN ALBERTOS GARCIA" userId="c19f33c7-8439-4086-a386-a1ed650887a8" providerId="ADAL" clId="{72FD809B-4713-4EB0-AB30-241724FC9601}" dt="2020-09-30T11:32:27.232" v="480" actId="1076"/>
        <pc:sldMkLst>
          <pc:docMk/>
          <pc:sldMk cId="2704242776" sldId="4515"/>
        </pc:sldMkLst>
        <pc:spChg chg="mod">
          <ac:chgData name="IVAN ALBERTOS GARCIA" userId="c19f33c7-8439-4086-a386-a1ed650887a8" providerId="ADAL" clId="{72FD809B-4713-4EB0-AB30-241724FC9601}" dt="2020-09-30T11:23:48.649" v="468" actId="1076"/>
          <ac:spMkLst>
            <pc:docMk/>
            <pc:sldMk cId="2704242776" sldId="4515"/>
            <ac:spMk id="2" creationId="{BDFDB365-4AAC-4DF3-8418-C0AEC46E5C5B}"/>
          </ac:spMkLst>
        </pc:spChg>
        <pc:spChg chg="mod">
          <ac:chgData name="IVAN ALBERTOS GARCIA" userId="c19f33c7-8439-4086-a386-a1ed650887a8" providerId="ADAL" clId="{72FD809B-4713-4EB0-AB30-241724FC9601}" dt="2020-09-30T11:32:27.232" v="480" actId="1076"/>
          <ac:spMkLst>
            <pc:docMk/>
            <pc:sldMk cId="2704242776" sldId="4515"/>
            <ac:spMk id="8" creationId="{76D402C0-7C6E-42F0-9C06-071D75A7709F}"/>
          </ac:spMkLst>
        </pc:spChg>
        <pc:spChg chg="mod">
          <ac:chgData name="IVAN ALBERTOS GARCIA" userId="c19f33c7-8439-4086-a386-a1ed650887a8" providerId="ADAL" clId="{72FD809B-4713-4EB0-AB30-241724FC9601}" dt="2020-09-30T10:23:55.097" v="97"/>
          <ac:spMkLst>
            <pc:docMk/>
            <pc:sldMk cId="2704242776" sldId="4515"/>
            <ac:spMk id="31" creationId="{26D28200-3D9A-4E83-95AC-0B3D4BFC4678}"/>
          </ac:spMkLst>
        </pc:spChg>
        <pc:grpChg chg="mod">
          <ac:chgData name="IVAN ALBERTOS GARCIA" userId="c19f33c7-8439-4086-a386-a1ed650887a8" providerId="ADAL" clId="{72FD809B-4713-4EB0-AB30-241724FC9601}" dt="2020-09-30T10:23:55.153" v="101"/>
          <ac:grpSpMkLst>
            <pc:docMk/>
            <pc:sldMk cId="2704242776" sldId="4515"/>
            <ac:grpSpMk id="30" creationId="{31E7A0B2-3EE0-4306-A596-D7A48C5C34D7}"/>
          </ac:grpSpMkLst>
        </pc:grpChg>
        <pc:picChg chg="add">
          <ac:chgData name="IVAN ALBERTOS GARCIA" userId="c19f33c7-8439-4086-a386-a1ed650887a8" providerId="ADAL" clId="{72FD809B-4713-4EB0-AB30-241724FC9601}" dt="2020-09-30T11:23:41.991" v="467"/>
          <ac:picMkLst>
            <pc:docMk/>
            <pc:sldMk cId="2704242776" sldId="4515"/>
            <ac:picMk id="11" creationId="{088A97DF-B68D-4346-AF10-56F5B77F7FDA}"/>
          </ac:picMkLst>
        </pc:picChg>
        <pc:picChg chg="mod">
          <ac:chgData name="IVAN ALBERTOS GARCIA" userId="c19f33c7-8439-4086-a386-a1ed650887a8" providerId="ADAL" clId="{72FD809B-4713-4EB0-AB30-241724FC9601}" dt="2020-09-30T10:27:49.411" v="118" actId="1035"/>
          <ac:picMkLst>
            <pc:docMk/>
            <pc:sldMk cId="2704242776" sldId="4515"/>
            <ac:picMk id="12" creationId="{0302A338-5148-4676-AC6C-E2877155FD9D}"/>
          </ac:picMkLst>
        </pc:picChg>
        <pc:picChg chg="mod">
          <ac:chgData name="IVAN ALBERTOS GARCIA" userId="c19f33c7-8439-4086-a386-a1ed650887a8" providerId="ADAL" clId="{72FD809B-4713-4EB0-AB30-241724FC9601}" dt="2020-09-30T10:27:49.411" v="118" actId="1035"/>
          <ac:picMkLst>
            <pc:docMk/>
            <pc:sldMk cId="2704242776" sldId="4515"/>
            <ac:picMk id="26" creationId="{D1254516-68AD-4FDA-89F6-77CF87CCA10A}"/>
          </ac:picMkLst>
        </pc:picChg>
        <pc:picChg chg="mod">
          <ac:chgData name="IVAN ALBERTOS GARCIA" userId="c19f33c7-8439-4086-a386-a1ed650887a8" providerId="ADAL" clId="{72FD809B-4713-4EB0-AB30-241724FC9601}" dt="2020-09-30T10:23:55.153" v="101"/>
          <ac:picMkLst>
            <pc:docMk/>
            <pc:sldMk cId="2704242776" sldId="4515"/>
            <ac:picMk id="32" creationId="{02FAA7CF-51CE-41FE-9B1C-E405A6D378C0}"/>
          </ac:picMkLst>
        </pc:picChg>
      </pc:sldChg>
      <pc:sldChg chg="del">
        <pc:chgData name="IVAN ALBERTOS GARCIA" userId="c19f33c7-8439-4086-a386-a1ed650887a8" providerId="ADAL" clId="{72FD809B-4713-4EB0-AB30-241724FC9601}" dt="2020-09-30T10:29:59.417" v="123" actId="2696"/>
        <pc:sldMkLst>
          <pc:docMk/>
          <pc:sldMk cId="4270107226" sldId="7558"/>
        </pc:sldMkLst>
      </pc:sldChg>
      <pc:sldChg chg="del">
        <pc:chgData name="IVAN ALBERTOS GARCIA" userId="c19f33c7-8439-4086-a386-a1ed650887a8" providerId="ADAL" clId="{72FD809B-4713-4EB0-AB30-241724FC9601}" dt="2020-09-30T10:29:58.962" v="120" actId="2696"/>
        <pc:sldMkLst>
          <pc:docMk/>
          <pc:sldMk cId="874979824" sldId="7561"/>
        </pc:sldMkLst>
      </pc:sldChg>
      <pc:sldChg chg="del">
        <pc:chgData name="IVAN ALBERTOS GARCIA" userId="c19f33c7-8439-4086-a386-a1ed650887a8" providerId="ADAL" clId="{72FD809B-4713-4EB0-AB30-241724FC9601}" dt="2020-09-30T10:29:59.548" v="125" actId="2696"/>
        <pc:sldMkLst>
          <pc:docMk/>
          <pc:sldMk cId="466800625" sldId="7567"/>
        </pc:sldMkLst>
      </pc:sldChg>
      <pc:sldChg chg="addSp delSp modSp">
        <pc:chgData name="IVAN ALBERTOS GARCIA" userId="c19f33c7-8439-4086-a386-a1ed650887a8" providerId="ADAL" clId="{72FD809B-4713-4EB0-AB30-241724FC9601}" dt="2020-09-30T11:23:35.827" v="466"/>
        <pc:sldMkLst>
          <pc:docMk/>
          <pc:sldMk cId="1910539613" sldId="2134804369"/>
        </pc:sldMkLst>
        <pc:spChg chg="add del mod">
          <ac:chgData name="IVAN ALBERTOS GARCIA" userId="c19f33c7-8439-4086-a386-a1ed650887a8" providerId="ADAL" clId="{72FD809B-4713-4EB0-AB30-241724FC9601}" dt="2020-09-30T10:19:12.974" v="10" actId="478"/>
          <ac:spMkLst>
            <pc:docMk/>
            <pc:sldMk cId="1910539613" sldId="2134804369"/>
            <ac:spMk id="3" creationId="{6ADB091D-C2F3-45FE-BCE1-7905DA3BAC76}"/>
          </ac:spMkLst>
        </pc:spChg>
        <pc:spChg chg="del">
          <ac:chgData name="IVAN ALBERTOS GARCIA" userId="c19f33c7-8439-4086-a386-a1ed650887a8" providerId="ADAL" clId="{72FD809B-4713-4EB0-AB30-241724FC9601}" dt="2020-09-30T10:19:07.828" v="8" actId="478"/>
          <ac:spMkLst>
            <pc:docMk/>
            <pc:sldMk cId="1910539613" sldId="2134804369"/>
            <ac:spMk id="5" creationId="{CB58BA26-DCE4-4DC7-B38D-B81B9A728A57}"/>
          </ac:spMkLst>
        </pc:spChg>
        <pc:spChg chg="del mod">
          <ac:chgData name="IVAN ALBERTOS GARCIA" userId="c19f33c7-8439-4086-a386-a1ed650887a8" providerId="ADAL" clId="{72FD809B-4713-4EB0-AB30-241724FC9601}" dt="2020-09-30T10:19:11.890" v="9" actId="478"/>
          <ac:spMkLst>
            <pc:docMk/>
            <pc:sldMk cId="1910539613" sldId="2134804369"/>
            <ac:spMk id="6" creationId="{067E4852-D5DA-41E8-8904-4BB278DFDABB}"/>
          </ac:spMkLst>
        </pc:spChg>
        <pc:spChg chg="add mod ord">
          <ac:chgData name="IVAN ALBERTOS GARCIA" userId="c19f33c7-8439-4086-a386-a1ed650887a8" providerId="ADAL" clId="{72FD809B-4713-4EB0-AB30-241724FC9601}" dt="2020-09-30T10:47:56.131" v="410" actId="164"/>
          <ac:spMkLst>
            <pc:docMk/>
            <pc:sldMk cId="1910539613" sldId="2134804369"/>
            <ac:spMk id="8" creationId="{D0598964-BAC3-439F-A787-074A64811A5A}"/>
          </ac:spMkLst>
        </pc:spChg>
        <pc:spChg chg="mod">
          <ac:chgData name="IVAN ALBERTOS GARCIA" userId="c19f33c7-8439-4086-a386-a1ed650887a8" providerId="ADAL" clId="{72FD809B-4713-4EB0-AB30-241724FC9601}" dt="2020-09-30T10:48:06.829" v="414"/>
          <ac:spMkLst>
            <pc:docMk/>
            <pc:sldMk cId="1910539613" sldId="2134804369"/>
            <ac:spMk id="10" creationId="{F2628611-4AC6-49A6-9AB2-4DB65EDDFAB3}"/>
          </ac:spMkLst>
        </pc:spChg>
        <pc:spChg chg="add mod">
          <ac:chgData name="IVAN ALBERTOS GARCIA" userId="c19f33c7-8439-4086-a386-a1ed650887a8" providerId="ADAL" clId="{72FD809B-4713-4EB0-AB30-241724FC9601}" dt="2020-09-30T10:49:25.124" v="462" actId="27636"/>
          <ac:spMkLst>
            <pc:docMk/>
            <pc:sldMk cId="1910539613" sldId="2134804369"/>
            <ac:spMk id="14" creationId="{134C4CA8-AD67-4245-96F1-F60209381592}"/>
          </ac:spMkLst>
        </pc:spChg>
        <pc:spChg chg="add del">
          <ac:chgData name="IVAN ALBERTOS GARCIA" userId="c19f33c7-8439-4086-a386-a1ed650887a8" providerId="ADAL" clId="{72FD809B-4713-4EB0-AB30-241724FC9601}" dt="2020-09-30T10:47:35.862" v="347" actId="478"/>
          <ac:spMkLst>
            <pc:docMk/>
            <pc:sldMk cId="1910539613" sldId="2134804369"/>
            <ac:spMk id="16" creationId="{C512AAFC-0DA9-45A4-A1C3-AF5F2495DC86}"/>
          </ac:spMkLst>
        </pc:spChg>
        <pc:spChg chg="add del">
          <ac:chgData name="IVAN ALBERTOS GARCIA" userId="c19f33c7-8439-4086-a386-a1ed650887a8" providerId="ADAL" clId="{72FD809B-4713-4EB0-AB30-241724FC9601}" dt="2020-09-30T10:48:11.413" v="419" actId="478"/>
          <ac:spMkLst>
            <pc:docMk/>
            <pc:sldMk cId="1910539613" sldId="2134804369"/>
            <ac:spMk id="17" creationId="{ECC07DD5-96D1-4C4E-B59D-DBB354F4D016}"/>
          </ac:spMkLst>
        </pc:spChg>
        <pc:grpChg chg="add mod">
          <ac:chgData name="IVAN ALBERTOS GARCIA" userId="c19f33c7-8439-4086-a386-a1ed650887a8" providerId="ADAL" clId="{72FD809B-4713-4EB0-AB30-241724FC9601}" dt="2020-09-30T10:47:46.928" v="388"/>
          <ac:grpSpMkLst>
            <pc:docMk/>
            <pc:sldMk cId="1910539613" sldId="2134804369"/>
            <ac:grpSpMk id="9" creationId="{8EB80031-677B-4F58-9E21-151C6A756131}"/>
          </ac:grpSpMkLst>
        </pc:grpChg>
        <pc:grpChg chg="add mod">
          <ac:chgData name="IVAN ALBERTOS GARCIA" userId="c19f33c7-8439-4086-a386-a1ed650887a8" providerId="ADAL" clId="{72FD809B-4713-4EB0-AB30-241724FC9601}" dt="2020-09-30T10:47:56.131" v="410" actId="164"/>
          <ac:grpSpMkLst>
            <pc:docMk/>
            <pc:sldMk cId="1910539613" sldId="2134804369"/>
            <ac:grpSpMk id="15" creationId="{2F4A0EF5-4641-47C4-B512-80E653665AC6}"/>
          </ac:grpSpMkLst>
        </pc:grpChg>
        <pc:grpChg chg="add mod">
          <ac:chgData name="IVAN ALBERTOS GARCIA" userId="c19f33c7-8439-4086-a386-a1ed650887a8" providerId="ADAL" clId="{72FD809B-4713-4EB0-AB30-241724FC9601}" dt="2020-09-30T10:48:05.377" v="412" actId="1076"/>
          <ac:grpSpMkLst>
            <pc:docMk/>
            <pc:sldMk cId="1910539613" sldId="2134804369"/>
            <ac:grpSpMk id="18" creationId="{A8F706A4-23E8-4F8E-9948-7C1AA4C8CED9}"/>
          </ac:grpSpMkLst>
        </pc:grpChg>
        <pc:picChg chg="add del">
          <ac:chgData name="IVAN ALBERTOS GARCIA" userId="c19f33c7-8439-4086-a386-a1ed650887a8" providerId="ADAL" clId="{72FD809B-4713-4EB0-AB30-241724FC9601}" dt="2020-09-30T10:19:56.625" v="13" actId="478"/>
          <ac:picMkLst>
            <pc:docMk/>
            <pc:sldMk cId="1910539613" sldId="2134804369"/>
            <ac:picMk id="7" creationId="{594482E2-45BC-4293-8E8B-66DD938BA46A}"/>
          </ac:picMkLst>
        </pc:picChg>
        <pc:picChg chg="mod">
          <ac:chgData name="IVAN ALBERTOS GARCIA" userId="c19f33c7-8439-4086-a386-a1ed650887a8" providerId="ADAL" clId="{72FD809B-4713-4EB0-AB30-241724FC9601}" dt="2020-09-30T10:48:06.892" v="418"/>
          <ac:picMkLst>
            <pc:docMk/>
            <pc:sldMk cId="1910539613" sldId="2134804369"/>
            <ac:picMk id="11" creationId="{50856ED4-3172-49EC-8FF9-141D8134585A}"/>
          </ac:picMkLst>
        </pc:picChg>
        <pc:picChg chg="mod">
          <ac:chgData name="IVAN ALBERTOS GARCIA" userId="c19f33c7-8439-4086-a386-a1ed650887a8" providerId="ADAL" clId="{72FD809B-4713-4EB0-AB30-241724FC9601}" dt="2020-09-30T10:48:06.874" v="416"/>
          <ac:picMkLst>
            <pc:docMk/>
            <pc:sldMk cId="1910539613" sldId="2134804369"/>
            <ac:picMk id="12" creationId="{D2DC00BB-0D22-40A4-809B-A4B1BD1C8DFE}"/>
          </ac:picMkLst>
        </pc:picChg>
        <pc:picChg chg="add mod ord">
          <ac:chgData name="IVAN ALBERTOS GARCIA" userId="c19f33c7-8439-4086-a386-a1ed650887a8" providerId="ADAL" clId="{72FD809B-4713-4EB0-AB30-241724FC9601}" dt="2020-09-30T10:48:00.593" v="411" actId="1076"/>
          <ac:picMkLst>
            <pc:docMk/>
            <pc:sldMk cId="1910539613" sldId="2134804369"/>
            <ac:picMk id="13" creationId="{93D000EB-BF82-499F-A0C8-61A24763BBE3}"/>
          </ac:picMkLst>
        </pc:picChg>
        <pc:picChg chg="add">
          <ac:chgData name="IVAN ALBERTOS GARCIA" userId="c19f33c7-8439-4086-a386-a1ed650887a8" providerId="ADAL" clId="{72FD809B-4713-4EB0-AB30-241724FC9601}" dt="2020-09-30T11:23:35.827" v="466"/>
          <ac:picMkLst>
            <pc:docMk/>
            <pc:sldMk cId="1910539613" sldId="2134804369"/>
            <ac:picMk id="19" creationId="{2F7CCF2F-0B24-4121-9294-D70FC9488916}"/>
          </ac:picMkLst>
        </pc:picChg>
      </pc:sldChg>
      <pc:sldChg chg="del">
        <pc:chgData name="IVAN ALBERTOS GARCIA" userId="c19f33c7-8439-4086-a386-a1ed650887a8" providerId="ADAL" clId="{72FD809B-4713-4EB0-AB30-241724FC9601}" dt="2020-09-30T10:29:59.533" v="124" actId="2696"/>
        <pc:sldMkLst>
          <pc:docMk/>
          <pc:sldMk cId="1800342070" sldId="2134804370"/>
        </pc:sldMkLst>
      </pc:sldChg>
      <pc:sldChg chg="addSp delSp modSp ord">
        <pc:chgData name="IVAN ALBERTOS GARCIA" userId="c19f33c7-8439-4086-a386-a1ed650887a8" providerId="ADAL" clId="{72FD809B-4713-4EB0-AB30-241724FC9601}" dt="2020-09-30T11:33:39.760" v="485" actId="478"/>
        <pc:sldMkLst>
          <pc:docMk/>
          <pc:sldMk cId="2604244683" sldId="2134804371"/>
        </pc:sldMkLst>
        <pc:spChg chg="mod">
          <ac:chgData name="IVAN ALBERTOS GARCIA" userId="c19f33c7-8439-4086-a386-a1ed650887a8" providerId="ADAL" clId="{72FD809B-4713-4EB0-AB30-241724FC9601}" dt="2020-09-29T10:49:38.855" v="3" actId="14100"/>
          <ac:spMkLst>
            <pc:docMk/>
            <pc:sldMk cId="2604244683" sldId="2134804371"/>
            <ac:spMk id="98" creationId="{3E183657-BDEC-404E-8314-C9BF4886734F}"/>
          </ac:spMkLst>
        </pc:spChg>
        <pc:spChg chg="mod">
          <ac:chgData name="IVAN ALBERTOS GARCIA" userId="c19f33c7-8439-4086-a386-a1ed650887a8" providerId="ADAL" clId="{72FD809B-4713-4EB0-AB30-241724FC9601}" dt="2020-09-29T10:49:43.109" v="4" actId="1076"/>
          <ac:spMkLst>
            <pc:docMk/>
            <pc:sldMk cId="2604244683" sldId="2134804371"/>
            <ac:spMk id="99" creationId="{BC3FA404-7C38-4E8F-9541-A08D141A3469}"/>
          </ac:spMkLst>
        </pc:spChg>
        <pc:spChg chg="del">
          <ac:chgData name="IVAN ALBERTOS GARCIA" userId="c19f33c7-8439-4086-a386-a1ed650887a8" providerId="ADAL" clId="{72FD809B-4713-4EB0-AB30-241724FC9601}" dt="2020-09-30T11:33:32.890" v="482" actId="478"/>
          <ac:spMkLst>
            <pc:docMk/>
            <pc:sldMk cId="2604244683" sldId="2134804371"/>
            <ac:spMk id="155" creationId="{C89FACF0-4909-4A2F-87AA-C7F2C14B1A60}"/>
          </ac:spMkLst>
        </pc:spChg>
        <pc:spChg chg="del">
          <ac:chgData name="IVAN ALBERTOS GARCIA" userId="c19f33c7-8439-4086-a386-a1ed650887a8" providerId="ADAL" clId="{72FD809B-4713-4EB0-AB30-241724FC9601}" dt="2020-09-30T11:33:37.006" v="484" actId="478"/>
          <ac:spMkLst>
            <pc:docMk/>
            <pc:sldMk cId="2604244683" sldId="2134804371"/>
            <ac:spMk id="156" creationId="{EB81B228-399C-4675-BDC9-DAD4DFE132D0}"/>
          </ac:spMkLst>
        </pc:spChg>
        <pc:spChg chg="del">
          <ac:chgData name="IVAN ALBERTOS GARCIA" userId="c19f33c7-8439-4086-a386-a1ed650887a8" providerId="ADAL" clId="{72FD809B-4713-4EB0-AB30-241724FC9601}" dt="2020-09-30T11:33:35.047" v="483" actId="478"/>
          <ac:spMkLst>
            <pc:docMk/>
            <pc:sldMk cId="2604244683" sldId="2134804371"/>
            <ac:spMk id="157" creationId="{648296C0-E430-40A4-8F00-D9D8D55C5A0D}"/>
          </ac:spMkLst>
        </pc:spChg>
        <pc:spChg chg="del">
          <ac:chgData name="IVAN ALBERTOS GARCIA" userId="c19f33c7-8439-4086-a386-a1ed650887a8" providerId="ADAL" clId="{72FD809B-4713-4EB0-AB30-241724FC9601}" dt="2020-09-30T11:33:39.760" v="485" actId="478"/>
          <ac:spMkLst>
            <pc:docMk/>
            <pc:sldMk cId="2604244683" sldId="2134804371"/>
            <ac:spMk id="158" creationId="{CC050222-A82E-4D2B-8B59-D5D1D6FADBEB}"/>
          </ac:spMkLst>
        </pc:spChg>
        <pc:spChg chg="del">
          <ac:chgData name="IVAN ALBERTOS GARCIA" userId="c19f33c7-8439-4086-a386-a1ed650887a8" providerId="ADAL" clId="{72FD809B-4713-4EB0-AB30-241724FC9601}" dt="2020-09-29T10:49:22.224" v="0" actId="478"/>
          <ac:spMkLst>
            <pc:docMk/>
            <pc:sldMk cId="2604244683" sldId="2134804371"/>
            <ac:spMk id="159" creationId="{5A9E8547-D221-4E1B-BABD-7DECA58C1DCF}"/>
          </ac:spMkLst>
        </pc:spChg>
        <pc:spChg chg="del">
          <ac:chgData name="IVAN ALBERTOS GARCIA" userId="c19f33c7-8439-4086-a386-a1ed650887a8" providerId="ADAL" clId="{72FD809B-4713-4EB0-AB30-241724FC9601}" dt="2020-09-29T10:49:22.224" v="0" actId="478"/>
          <ac:spMkLst>
            <pc:docMk/>
            <pc:sldMk cId="2604244683" sldId="2134804371"/>
            <ac:spMk id="160" creationId="{7F9FF25A-847E-430B-BB53-31A7CAB5DC80}"/>
          </ac:spMkLst>
        </pc:spChg>
        <pc:spChg chg="del">
          <ac:chgData name="IVAN ALBERTOS GARCIA" userId="c19f33c7-8439-4086-a386-a1ed650887a8" providerId="ADAL" clId="{72FD809B-4713-4EB0-AB30-241724FC9601}" dt="2020-09-29T10:49:22.224" v="0" actId="478"/>
          <ac:spMkLst>
            <pc:docMk/>
            <pc:sldMk cId="2604244683" sldId="2134804371"/>
            <ac:spMk id="161" creationId="{85D56817-5F9D-4A20-B611-5FE9D491B4C7}"/>
          </ac:spMkLst>
        </pc:spChg>
        <pc:spChg chg="del">
          <ac:chgData name="IVAN ALBERTOS GARCIA" userId="c19f33c7-8439-4086-a386-a1ed650887a8" providerId="ADAL" clId="{72FD809B-4713-4EB0-AB30-241724FC9601}" dt="2020-09-29T10:49:22.224" v="0" actId="478"/>
          <ac:spMkLst>
            <pc:docMk/>
            <pc:sldMk cId="2604244683" sldId="2134804371"/>
            <ac:spMk id="162" creationId="{FF66A51C-6142-465B-A2D5-17FE56C229A3}"/>
          </ac:spMkLst>
        </pc:spChg>
        <pc:spChg chg="del">
          <ac:chgData name="IVAN ALBERTOS GARCIA" userId="c19f33c7-8439-4086-a386-a1ed650887a8" providerId="ADAL" clId="{72FD809B-4713-4EB0-AB30-241724FC9601}" dt="2020-09-29T10:49:22.224" v="0" actId="478"/>
          <ac:spMkLst>
            <pc:docMk/>
            <pc:sldMk cId="2604244683" sldId="2134804371"/>
            <ac:spMk id="163" creationId="{0FFC42B2-5ACB-4E53-BEB0-8D5368E0068F}"/>
          </ac:spMkLst>
        </pc:spChg>
        <pc:picChg chg="add">
          <ac:chgData name="IVAN ALBERTOS GARCIA" userId="c19f33c7-8439-4086-a386-a1ed650887a8" providerId="ADAL" clId="{72FD809B-4713-4EB0-AB30-241724FC9601}" dt="2020-09-30T11:23:30.766" v="465"/>
          <ac:picMkLst>
            <pc:docMk/>
            <pc:sldMk cId="2604244683" sldId="2134804371"/>
            <ac:picMk id="76" creationId="{44DD9BB0-646E-47C6-810B-B74AAF3BB040}"/>
          </ac:picMkLst>
        </pc:picChg>
        <pc:picChg chg="del">
          <ac:chgData name="IVAN ALBERTOS GARCIA" userId="c19f33c7-8439-4086-a386-a1ed650887a8" providerId="ADAL" clId="{72FD809B-4713-4EB0-AB30-241724FC9601}" dt="2020-09-30T11:33:30.935" v="481" actId="478"/>
          <ac:picMkLst>
            <pc:docMk/>
            <pc:sldMk cId="2604244683" sldId="2134804371"/>
            <ac:picMk id="154" creationId="{B77C8543-6F99-462C-B8C9-BA60E5292591}"/>
          </ac:picMkLst>
        </pc:picChg>
      </pc:sldChg>
      <pc:sldChg chg="del ord">
        <pc:chgData name="IVAN ALBERTOS GARCIA" userId="c19f33c7-8439-4086-a386-a1ed650887a8" providerId="ADAL" clId="{72FD809B-4713-4EB0-AB30-241724FC9601}" dt="2020-09-29T11:05:50.451" v="6" actId="2696"/>
        <pc:sldMkLst>
          <pc:docMk/>
          <pc:sldMk cId="955200750" sldId="2134804372"/>
        </pc:sldMkLst>
      </pc:sldChg>
      <pc:sldChg chg="addSp delSp modSp add modTransition">
        <pc:chgData name="IVAN ALBERTOS GARCIA" userId="c19f33c7-8439-4086-a386-a1ed650887a8" providerId="ADAL" clId="{72FD809B-4713-4EB0-AB30-241724FC9601}" dt="2020-10-01T07:29:21.760" v="1012" actId="1036"/>
        <pc:sldMkLst>
          <pc:docMk/>
          <pc:sldMk cId="1002609638" sldId="2134804372"/>
        </pc:sldMkLst>
        <pc:spChg chg="add mod ord">
          <ac:chgData name="IVAN ALBERTOS GARCIA" userId="c19f33c7-8439-4086-a386-a1ed650887a8" providerId="ADAL" clId="{72FD809B-4713-4EB0-AB30-241724FC9601}" dt="2020-10-01T07:29:17.335" v="1003" actId="1036"/>
          <ac:spMkLst>
            <pc:docMk/>
            <pc:sldMk cId="1002609638" sldId="2134804372"/>
            <ac:spMk id="2" creationId="{02C1CC45-ED33-430B-A939-2D5E70C79C9C}"/>
          </ac:spMkLst>
        </pc:spChg>
        <pc:spChg chg="add mod">
          <ac:chgData name="IVAN ALBERTOS GARCIA" userId="c19f33c7-8439-4086-a386-a1ed650887a8" providerId="ADAL" clId="{72FD809B-4713-4EB0-AB30-241724FC9601}" dt="2020-10-01T07:29:21.760" v="1012" actId="1036"/>
          <ac:spMkLst>
            <pc:docMk/>
            <pc:sldMk cId="1002609638" sldId="2134804372"/>
            <ac:spMk id="5" creationId="{5123C481-11B8-488D-BA53-A136E5E5E628}"/>
          </ac:spMkLst>
        </pc:spChg>
        <pc:picChg chg="add mod">
          <ac:chgData name="IVAN ALBERTOS GARCIA" userId="c19f33c7-8439-4086-a386-a1ed650887a8" providerId="ADAL" clId="{72FD809B-4713-4EB0-AB30-241724FC9601}" dt="2020-09-30T11:37:59.637" v="941" actId="14100"/>
          <ac:picMkLst>
            <pc:docMk/>
            <pc:sldMk cId="1002609638" sldId="2134804372"/>
            <ac:picMk id="3" creationId="{D7AC91EF-4A36-4A2B-A149-3188B8DA1941}"/>
          </ac:picMkLst>
        </pc:picChg>
        <pc:picChg chg="add mod">
          <ac:chgData name="IVAN ALBERTOS GARCIA" userId="c19f33c7-8439-4086-a386-a1ed650887a8" providerId="ADAL" clId="{72FD809B-4713-4EB0-AB30-241724FC9601}" dt="2020-10-01T07:29:11.762" v="1002" actId="1035"/>
          <ac:picMkLst>
            <pc:docMk/>
            <pc:sldMk cId="1002609638" sldId="2134804372"/>
            <ac:picMk id="4" creationId="{8F0B6A8B-ECDE-4BFA-BF6B-A80E3727A316}"/>
          </ac:picMkLst>
        </pc:picChg>
        <pc:picChg chg="add del mod">
          <ac:chgData name="IVAN ALBERTOS GARCIA" userId="c19f33c7-8439-4086-a386-a1ed650887a8" providerId="ADAL" clId="{72FD809B-4713-4EB0-AB30-241724FC9601}" dt="2020-09-30T10:42:15.641" v="275" actId="478"/>
          <ac:picMkLst>
            <pc:docMk/>
            <pc:sldMk cId="1002609638" sldId="2134804372"/>
            <ac:picMk id="5" creationId="{E6ABB907-BAA4-468B-8B93-55B408EE9D00}"/>
          </ac:picMkLst>
        </pc:picChg>
        <pc:picChg chg="add">
          <ac:chgData name="IVAN ALBERTOS GARCIA" userId="c19f33c7-8439-4086-a386-a1ed650887a8" providerId="ADAL" clId="{72FD809B-4713-4EB0-AB30-241724FC9601}" dt="2020-10-01T07:28:52.836" v="977"/>
          <ac:picMkLst>
            <pc:docMk/>
            <pc:sldMk cId="1002609638" sldId="2134804372"/>
            <ac:picMk id="6" creationId="{9628D43F-2B60-4B52-8EC8-12C5AB8FA186}"/>
          </ac:picMkLst>
        </pc:picChg>
        <pc:picChg chg="add del mod">
          <ac:chgData name="IVAN ALBERTOS GARCIA" userId="c19f33c7-8439-4086-a386-a1ed650887a8" providerId="ADAL" clId="{72FD809B-4713-4EB0-AB30-241724FC9601}" dt="2020-09-30T11:34:22.633" v="486" actId="478"/>
          <ac:picMkLst>
            <pc:docMk/>
            <pc:sldMk cId="1002609638" sldId="2134804372"/>
            <ac:picMk id="7" creationId="{C3CB92B9-78FD-4AEA-8BE9-E9D37BA70A10}"/>
          </ac:picMkLst>
        </pc:picChg>
      </pc:sldChg>
      <pc:sldChg chg="add del">
        <pc:chgData name="IVAN ALBERTOS GARCIA" userId="c19f33c7-8439-4086-a386-a1ed650887a8" providerId="ADAL" clId="{72FD809B-4713-4EB0-AB30-241724FC9601}" dt="2020-09-30T10:40:18.224" v="262"/>
        <pc:sldMkLst>
          <pc:docMk/>
          <pc:sldMk cId="1220833131" sldId="2134804372"/>
        </pc:sldMkLst>
      </pc:sldChg>
      <pc:sldChg chg="add del">
        <pc:chgData name="IVAN ALBERTOS GARCIA" userId="c19f33c7-8439-4086-a386-a1ed650887a8" providerId="ADAL" clId="{72FD809B-4713-4EB0-AB30-241724FC9601}" dt="2020-09-30T10:33:26.994" v="131" actId="2696"/>
        <pc:sldMkLst>
          <pc:docMk/>
          <pc:sldMk cId="2497644819" sldId="2134804372"/>
        </pc:sldMkLst>
      </pc:sldChg>
      <pc:sldChg chg="add del">
        <pc:chgData name="IVAN ALBERTOS GARCIA" userId="c19f33c7-8439-4086-a386-a1ed650887a8" providerId="ADAL" clId="{72FD809B-4713-4EB0-AB30-241724FC9601}" dt="2020-09-30T11:23:22.463" v="464"/>
        <pc:sldMkLst>
          <pc:docMk/>
          <pc:sldMk cId="2056278888" sldId="2134804373"/>
        </pc:sldMkLst>
      </pc:sldChg>
      <pc:sldChg chg="add del">
        <pc:chgData name="IVAN ALBERTOS GARCIA" userId="c19f33c7-8439-4086-a386-a1ed650887a8" providerId="ADAL" clId="{72FD809B-4713-4EB0-AB30-241724FC9601}" dt="2020-09-30T10:40:18.224" v="262"/>
        <pc:sldMkLst>
          <pc:docMk/>
          <pc:sldMk cId="3152679785" sldId="2134804373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bg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B57-4002-BC63-AE70033AE481}"/>
              </c:ext>
            </c:extLst>
          </c:dPt>
          <c:dPt>
            <c:idx val="1"/>
            <c:bubble3D val="0"/>
            <c:spPr>
              <a:solidFill>
                <a:srgbClr val="95C66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B57-4002-BC63-AE70033AE481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B57-4002-BC63-AE70033AE481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B57-4002-BC63-AE70033AE481}"/>
              </c:ext>
            </c:extLst>
          </c:dPt>
          <c:cat>
            <c:strRef>
              <c:f>Tabelle1!$A$2:$A$5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79</c:v>
                </c:pt>
                <c:pt idx="1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B57-4002-BC63-AE70033AE4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_tradnl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186466-5020-480F-98D6-C4C83B2E2945}" type="slidenum">
              <a:rPr lang="de-DE" smtClean="0">
                <a:latin typeface="Arial" pitchFamily="34" charset="0"/>
                <a:cs typeface="Arial" pitchFamily="34" charset="0"/>
              </a:rPr>
              <a:t>‹Nº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28794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2950"/>
            <a:ext cx="660082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79388" lvl="0" indent="-179388">
              <a:lnSpc>
                <a:spcPct val="95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n"/>
            </a:pPr>
            <a:r>
              <a:rPr lang="de-DE" dirty="0"/>
              <a:t>Textmasterformat bearbeiten</a:t>
            </a:r>
          </a:p>
          <a:p>
            <a:pPr marL="360363" lvl="1" indent="-180975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525463" lvl="2" indent="-165100">
              <a:lnSpc>
                <a:spcPct val="95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673100" lvl="3" indent="-136525">
              <a:lnSpc>
                <a:spcPct val="95000"/>
              </a:lnSpc>
              <a:buFont typeface="Arial" pitchFamily="34" charset="0"/>
              <a:buChar char="–"/>
            </a:pPr>
            <a:r>
              <a:rPr lang="de-DE" dirty="0"/>
              <a:t>Vier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8FF7B9E9-6F9D-4999-8E35-8BAD09A8460E}" type="slidenum">
              <a:rPr lang="de-DE" smtClean="0"/>
              <a:pPr/>
              <a:t>‹Nº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41214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de-DE" sz="1200" kern="1200" noProof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150" indent="-171150">
              <a:buFont typeface="Arial" panose="020B0604020202020204" pitchFamily="34" charset="0"/>
              <a:buChar char="•"/>
            </a:pPr>
            <a:r>
              <a:rPr lang="de-DE" dirty="0"/>
              <a:t>XXX</a:t>
            </a:r>
          </a:p>
          <a:p>
            <a:pPr marL="171150" indent="-171150">
              <a:buFont typeface="Arial" panose="020B0604020202020204" pitchFamily="34" charset="0"/>
              <a:buChar char="•"/>
            </a:pPr>
            <a:r>
              <a:rPr lang="de-DE" dirty="0"/>
              <a:t>XXX</a:t>
            </a:r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DCD0F59D-8FC0-4EEF-89D7-816ED9A3CB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8646" y="9357829"/>
            <a:ext cx="2944283" cy="492608"/>
          </a:xfrm>
        </p:spPr>
        <p:txBody>
          <a:bodyPr/>
          <a:lstStyle/>
          <a:p>
            <a:pPr defTabSz="912797">
              <a:defRPr/>
            </a:pPr>
            <a:fld id="{8FF7B9E9-6F9D-4999-8E35-8BAD09A8460E}" type="slidenum">
              <a:rPr lang="de-DE">
                <a:solidFill>
                  <a:srgbClr val="000000"/>
                </a:solidFill>
              </a:rPr>
              <a:pPr defTabSz="912797">
                <a:defRPr/>
              </a:pPr>
              <a:t>3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0FCBCEAD-1F22-4C3C-B66F-60913BB72C5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" y="9357829"/>
            <a:ext cx="2944283" cy="492608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65544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2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defTabSz="906414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62953" indent="-293444" defTabSz="906414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73770" indent="-234756" defTabSz="906414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43280" indent="-234756" defTabSz="906414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112790" indent="-234756" defTabSz="906414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82299" indent="-234756" defTabSz="906414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3051808" indent="-234756" defTabSz="906414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521315" indent="-234756" defTabSz="906414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90824" indent="-234756" defTabSz="906414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07345BA0-1618-4D6E-B190-53598297BD86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/>
          </p:nvPr>
        </p:nvSpPr>
        <p:spPr>
          <a:xfrm>
            <a:off x="96838" y="744538"/>
            <a:ext cx="6602412" cy="3714750"/>
          </a:xfrm>
        </p:spPr>
      </p:sp>
      <p:sp>
        <p:nvSpPr>
          <p:cNvPr id="6" name="Notes Placeholder 2">
            <a:extLst>
              <a:ext uri="{FF2B5EF4-FFF2-40B4-BE49-F238E27FC236}">
                <a16:creationId xmlns:a16="http://schemas.microsoft.com/office/drawing/2014/main" id="{BDF5548A-57C9-41F3-B54C-630CD7B1608D}"/>
              </a:ext>
            </a:extLst>
          </p:cNvPr>
          <p:cNvSpPr txBox="1">
            <a:spLocks/>
          </p:cNvSpPr>
          <p:nvPr/>
        </p:nvSpPr>
        <p:spPr>
          <a:xfrm>
            <a:off x="680244" y="4705285"/>
            <a:ext cx="5435600" cy="4457700"/>
          </a:xfrm>
          <a:prstGeom prst="rect">
            <a:avLst/>
          </a:prstGeom>
        </p:spPr>
        <p:txBody>
          <a:bodyPr vert="horz" lIns="0" tIns="0" rIns="0" bIns="0" rtlCol="0"/>
          <a:lstStyle>
            <a:lvl1pPr marL="0" algn="l" defTabSz="914400" rtl="0" eaLnBrk="1" latinLnBrk="0" hangingPunct="1">
              <a:defRPr lang="de-DE" sz="1200" kern="1200" noProof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lang="de-DE" sz="1200" kern="1200" noProof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lang="de-DE" sz="1200" kern="1200" noProof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defTabSz="914400" rtl="0" eaLnBrk="1" latinLnBrk="0" hangingPunct="1">
              <a:defRPr lang="de-DE" sz="1200" kern="1200" noProof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defTabSz="914400" rtl="0" eaLnBrk="1" latinLnBrk="0" hangingPunct="1">
              <a:defRPr lang="de-DE" sz="1200" kern="1200" noProof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de-DE" b="1"/>
              <a:t>Chemistry is an enabler to provide solutions for current and future needs</a:t>
            </a:r>
          </a:p>
          <a:p>
            <a:endParaRPr lang="en-US" altLang="de-DE" b="1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altLang="de-DE"/>
              <a:t>I am not sure how much you know about BASF. And no worries, I won’t bore you with a full-blown standard company presentation.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altLang="de-DE"/>
              <a:t>Nevertheless, I would like to tell you a little bit about us, your new “home”.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altLang="de-DE"/>
              <a:t>We are a big family of very diverse businesses, all dedicated to a single purpose: creating chemistry for a sustainable future. 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/>
              <a:t>This means chemistry in the lab </a:t>
            </a:r>
            <a:r>
              <a:rPr lang="en-US" i="1" u="sng"/>
              <a:t>and</a:t>
            </a:r>
            <a:r>
              <a:rPr lang="en-US"/>
              <a:t> chemistry between people – with our employees, customers, society and other stakeholders. 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/>
              <a:t>Chemistry that makes a difference, contributes to solving global challenges.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/>
              <a:t>Like the challenge of feeding a growing world population, while maintaining economic, social and environmental balance. This is where our agriculture business comes in. 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/>
              <a:t>Agriculture is a core part of BASF. The acquisition signals the importance of the business within BASF Group. </a:t>
            </a:r>
          </a:p>
          <a:p>
            <a:pPr>
              <a:defRPr/>
            </a:pPr>
            <a:endParaRPr lang="en-US"/>
          </a:p>
          <a:p>
            <a:pPr>
              <a:defRPr/>
            </a:pPr>
            <a:r>
              <a:rPr lang="en-US" b="1"/>
              <a:t>[Click to the next slide.]</a:t>
            </a:r>
          </a:p>
          <a:p>
            <a:pPr>
              <a:defRPr/>
            </a:pPr>
            <a:endParaRPr lang="en-GB" sz="1000"/>
          </a:p>
          <a:p>
            <a:pPr>
              <a:defRPr/>
            </a:pPr>
            <a:endParaRPr lang="en-GB" sz="1000"/>
          </a:p>
          <a:p>
            <a:pPr>
              <a:defRPr/>
            </a:pPr>
            <a:endParaRPr lang="en-GB" sz="1000"/>
          </a:p>
          <a:p>
            <a:pPr>
              <a:spcAft>
                <a:spcPts val="600"/>
              </a:spcAft>
              <a:defRPr/>
            </a:pPr>
            <a:r>
              <a:rPr lang="en-GB" sz="1000" b="1">
                <a:solidFill>
                  <a:srgbClr val="FF0000"/>
                </a:solidFill>
              </a:rPr>
              <a:t>Note to Communications: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GB" sz="1000" b="1">
                <a:solidFill>
                  <a:srgbClr val="FF0000"/>
                </a:solidFill>
              </a:rPr>
              <a:t>Speaker: </a:t>
            </a:r>
            <a:r>
              <a:rPr lang="en-GB" sz="1000">
                <a:solidFill>
                  <a:srgbClr val="FF0000"/>
                </a:solidFill>
              </a:rPr>
              <a:t>This chapter “Your new home” is ideally presented by someone who represents “all of BASF” (e.g. Board Member, Global / Regional President, Country MD).</a:t>
            </a:r>
            <a:endParaRPr lang="en-US" sz="10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6400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ChemCycling</a:t>
            </a:r>
            <a:r>
              <a:rPr lang="en-US" sz="1200" b="1" kern="1200" baseline="300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M</a:t>
            </a:r>
            <a:r>
              <a:rPr lang="en-US" sz="1200" b="1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project: </a:t>
            </a:r>
            <a:r>
              <a:rPr lang="en-US" sz="1200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ASF is breaking new ground in plastic waste recycling with its ChemCycling</a:t>
            </a:r>
            <a:r>
              <a:rPr lang="en-US" sz="1200" kern="1200" baseline="300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M </a:t>
            </a:r>
            <a:r>
              <a:rPr lang="en-US" sz="1200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roject.  In this project, BASF is collaborating closely with its customers and partners, which range from waste management companies to technology providers and packaging producers, to build a circular value chain for plastic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US" sz="1200" kern="1200" noProof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cycle: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200" kern="1200" noProof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nsumers </a:t>
            </a:r>
            <a:r>
              <a:rPr lang="en-US" sz="1200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use and dispose plastic products (e.g. packaging, </a:t>
            </a:r>
            <a:r>
              <a:rPr lang="en-US" sz="1200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yres</a:t>
            </a:r>
            <a:r>
              <a:rPr lang="en-US" sz="1200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)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200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aste companies collect and sort the waste and supply our recycling partners with it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200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lastic waste is converted  into pyrolysis oil by BASF’s partners using thermochemical process called pyrolysis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200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pyrolysis oil is then purified to be used as feedstock in BASF’s </a:t>
            </a:r>
            <a:r>
              <a:rPr lang="en-US" sz="1200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Verbund</a:t>
            </a:r>
            <a:r>
              <a:rPr lang="en-US" sz="1200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production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200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 recycled (or secondary) raw material is then fed BASF’s </a:t>
            </a:r>
            <a:r>
              <a:rPr lang="en-US" sz="1200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Verbund</a:t>
            </a:r>
            <a:r>
              <a:rPr lang="en-US" sz="1200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production. Under the mass balance approach, the share of recycled raw material can be allocated to all chemicals produced in this </a:t>
            </a:r>
            <a:r>
              <a:rPr lang="en-US" sz="1200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Verbund</a:t>
            </a:r>
            <a:r>
              <a:rPr lang="en-US" sz="1200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dirty="0"/>
              <a:t>Our Ccycled</a:t>
            </a:r>
            <a:r>
              <a:rPr lang="en-US" baseline="30000" dirty="0"/>
              <a:t>TM</a:t>
            </a:r>
            <a:r>
              <a:rPr lang="en-US" dirty="0"/>
              <a:t> sales products have the same properties as materials made from fossil-based raw materials.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5382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9" name="Folienbildplatzhalt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100388" y="511175"/>
            <a:ext cx="3741737" cy="21050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76849C-C467-4885-BAF4-69DBF4A715EF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6" name="Notizenplatzhalter 1"/>
          <p:cNvSpPr>
            <a:spLocks noGrp="1"/>
          </p:cNvSpPr>
          <p:nvPr/>
        </p:nvSpPr>
        <p:spPr>
          <a:xfrm>
            <a:off x="884348" y="3161370"/>
            <a:ext cx="8129559" cy="3456652"/>
          </a:xfrm>
          <a:prstGeom prst="rect">
            <a:avLst/>
          </a:prstGeom>
        </p:spPr>
        <p:txBody>
          <a:bodyPr lIns="91157" tIns="45578" rIns="91157" bIns="45578"/>
          <a:lstStyle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30000"/>
              </a:spcBef>
              <a:defRPr/>
            </a:pPr>
            <a:endParaRPr lang="en-US" b="0" baseline="0" dirty="0">
              <a:cs typeface="Arial" panose="020B0604020202020204" pitchFamily="34" charset="0"/>
            </a:endParaRPr>
          </a:p>
        </p:txBody>
      </p:sp>
      <p:sp>
        <p:nvSpPr>
          <p:cNvPr id="9" name="Notizenplatzhalt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900" i="1" dirty="0"/>
          </a:p>
        </p:txBody>
      </p:sp>
    </p:spTree>
    <p:extLst>
      <p:ext uri="{BB962C8B-B14F-4D97-AF65-F5344CB8AC3E}">
        <p14:creationId xmlns:p14="http://schemas.microsoft.com/office/powerpoint/2010/main" val="40457264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9" name="Folienbildplatzhalter 4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2625" y="744538"/>
            <a:ext cx="5454650" cy="30702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76849C-C467-4885-BAF4-69DBF4A715EF}" type="slidenum">
              <a:rPr lang="es-ES" smtClean="0"/>
              <a:pPr/>
              <a:t>9</a:t>
            </a:fld>
            <a:endParaRPr lang="es-ES"/>
          </a:p>
        </p:txBody>
      </p:sp>
      <p:sp>
        <p:nvSpPr>
          <p:cNvPr id="6" name="Notizenplatzhalter 1"/>
          <p:cNvSpPr>
            <a:spLocks noGrp="1"/>
          </p:cNvSpPr>
          <p:nvPr/>
        </p:nvSpPr>
        <p:spPr>
          <a:xfrm>
            <a:off x="606571" y="4609098"/>
            <a:ext cx="5576044" cy="5039605"/>
          </a:xfrm>
          <a:prstGeom prst="rect">
            <a:avLst/>
          </a:prstGeom>
        </p:spPr>
        <p:txBody>
          <a:bodyPr lIns="91157" tIns="45578" rIns="91157" bIns="45578"/>
          <a:lstStyle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30000"/>
              </a:spcBef>
              <a:defRPr/>
            </a:pPr>
            <a:endParaRPr lang="es-ES" b="0" baseline="0">
              <a:cs typeface="Arial" panose="020B0604020202020204" pitchFamily="34" charset="0"/>
            </a:endParaRPr>
          </a:p>
        </p:txBody>
      </p:sp>
      <p:sp>
        <p:nvSpPr>
          <p:cNvPr id="9" name="Notizenplatzhalt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err="1"/>
              <a:t>Exampl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Accelerator </a:t>
            </a:r>
            <a:r>
              <a:rPr lang="es-ES" dirty="0" err="1"/>
              <a:t>solutions</a:t>
            </a:r>
            <a:r>
              <a:rPr lang="es-ES" dirty="0"/>
              <a:t>: </a:t>
            </a:r>
          </a:p>
          <a:p>
            <a:pPr marL="180414" indent="-180414">
              <a:buFont typeface="Arial" panose="020B0604020202020204" pitchFamily="34" charset="0"/>
              <a:buChar char="•"/>
              <a:defRPr/>
            </a:pPr>
            <a:r>
              <a:rPr lang="es-ES" b="1" dirty="0" err="1"/>
              <a:t>Acronal</a:t>
            </a:r>
            <a:r>
              <a:rPr lang="es-ES" b="1" baseline="30000" dirty="0"/>
              <a:t>®</a:t>
            </a:r>
            <a:r>
              <a:rPr lang="es-ES" b="1" dirty="0"/>
              <a:t> MB</a:t>
            </a:r>
            <a:r>
              <a:rPr lang="es-ES" dirty="0"/>
              <a:t> – </a:t>
            </a:r>
            <a:r>
              <a:rPr lang="es-ES" dirty="0" err="1"/>
              <a:t>First</a:t>
            </a:r>
            <a:r>
              <a:rPr lang="es-ES" dirty="0"/>
              <a:t> BASF </a:t>
            </a:r>
            <a:r>
              <a:rPr lang="es-ES" dirty="0" err="1"/>
              <a:t>binder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interior </a:t>
            </a:r>
            <a:r>
              <a:rPr lang="es-ES" dirty="0" err="1"/>
              <a:t>paints</a:t>
            </a:r>
            <a:r>
              <a:rPr lang="es-ES" dirty="0"/>
              <a:t> </a:t>
            </a:r>
            <a:r>
              <a:rPr lang="es-ES" dirty="0" err="1"/>
              <a:t>based</a:t>
            </a:r>
            <a:r>
              <a:rPr lang="es-ES" dirty="0"/>
              <a:t> </a:t>
            </a:r>
            <a:r>
              <a:rPr lang="es-ES" dirty="0" err="1"/>
              <a:t>o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biomass</a:t>
            </a:r>
            <a:r>
              <a:rPr lang="es-ES" dirty="0"/>
              <a:t> balance </a:t>
            </a:r>
            <a:r>
              <a:rPr lang="es-ES" dirty="0" err="1"/>
              <a:t>approach</a:t>
            </a:r>
            <a:r>
              <a:rPr lang="es-ES" dirty="0"/>
              <a:t> </a:t>
            </a:r>
            <a:r>
              <a:rPr lang="es-ES" dirty="0" err="1"/>
              <a:t>launched</a:t>
            </a:r>
            <a:r>
              <a:rPr lang="es-ES" dirty="0"/>
              <a:t> in 2016. </a:t>
            </a:r>
            <a:r>
              <a:rPr lang="es-ES" dirty="0" err="1"/>
              <a:t>Replacing</a:t>
            </a:r>
            <a:r>
              <a:rPr lang="es-ES" dirty="0"/>
              <a:t> </a:t>
            </a:r>
            <a:r>
              <a:rPr lang="es-ES" dirty="0" err="1"/>
              <a:t>fossil</a:t>
            </a:r>
            <a:r>
              <a:rPr lang="es-ES" dirty="0"/>
              <a:t> raw </a:t>
            </a:r>
            <a:r>
              <a:rPr lang="es-ES" dirty="0" err="1"/>
              <a:t>materials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renewable</a:t>
            </a:r>
            <a:r>
              <a:rPr lang="es-ES" dirty="0"/>
              <a:t> </a:t>
            </a:r>
            <a:r>
              <a:rPr lang="es-ES" dirty="0" err="1"/>
              <a:t>feedstock</a:t>
            </a:r>
            <a:r>
              <a:rPr lang="es-ES" dirty="0"/>
              <a:t> at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beginning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roduction</a:t>
            </a:r>
            <a:r>
              <a:rPr lang="es-ES" dirty="0"/>
              <a:t> </a:t>
            </a:r>
            <a:r>
              <a:rPr lang="es-ES" dirty="0" err="1"/>
              <a:t>process</a:t>
            </a:r>
            <a:r>
              <a:rPr lang="es-ES" dirty="0"/>
              <a:t>: </a:t>
            </a:r>
            <a:r>
              <a:rPr lang="es-ES" dirty="0" err="1"/>
              <a:t>helps</a:t>
            </a:r>
            <a:r>
              <a:rPr lang="es-ES" dirty="0"/>
              <a:t> </a:t>
            </a:r>
            <a:r>
              <a:rPr lang="es-ES" dirty="0" err="1"/>
              <a:t>saving</a:t>
            </a:r>
            <a:r>
              <a:rPr lang="es-ES" dirty="0"/>
              <a:t> </a:t>
            </a:r>
            <a:r>
              <a:rPr lang="es-ES" dirty="0" err="1"/>
              <a:t>fossil</a:t>
            </a:r>
            <a:r>
              <a:rPr lang="es-ES" dirty="0"/>
              <a:t> </a:t>
            </a:r>
            <a:r>
              <a:rPr lang="es-ES" dirty="0" err="1"/>
              <a:t>resources</a:t>
            </a:r>
            <a:r>
              <a:rPr lang="es-ES" dirty="0"/>
              <a:t> and </a:t>
            </a:r>
            <a:r>
              <a:rPr lang="es-ES" dirty="0" err="1"/>
              <a:t>reducing</a:t>
            </a:r>
            <a:r>
              <a:rPr lang="es-ES" dirty="0"/>
              <a:t> </a:t>
            </a:r>
            <a:r>
              <a:rPr lang="es-ES" dirty="0" err="1"/>
              <a:t>greenhouse</a:t>
            </a:r>
            <a:r>
              <a:rPr lang="es-ES" dirty="0"/>
              <a:t> </a:t>
            </a:r>
            <a:r>
              <a:rPr lang="es-ES" dirty="0" err="1"/>
              <a:t>emissions</a:t>
            </a:r>
            <a:r>
              <a:rPr lang="es-ES" dirty="0"/>
              <a:t>. </a:t>
            </a:r>
            <a:r>
              <a:rPr lang="es-ES" dirty="0" err="1">
                <a:ea typeface="Arial" panose="020B0604020202020204" pitchFamily="34" charset="0"/>
                <a:cs typeface="Times New Roman" panose="02020603050405020304" pitchFamily="18" charset="0"/>
              </a:rPr>
              <a:t>Enabling</a:t>
            </a:r>
            <a:r>
              <a:rPr lang="es-ES" dirty="0">
                <a:ea typeface="Arial" panose="020B0604020202020204" pitchFamily="34" charset="0"/>
                <a:cs typeface="Times New Roman" panose="02020603050405020304" pitchFamily="18" charset="0"/>
              </a:rPr>
              <a:t> i</a:t>
            </a:r>
            <a:r>
              <a:rPr lang="es-ES" dirty="0"/>
              <a:t>nterior </a:t>
            </a:r>
            <a:r>
              <a:rPr lang="es-ES" dirty="0" err="1"/>
              <a:t>paints</a:t>
            </a:r>
            <a:r>
              <a:rPr lang="es-ES" dirty="0"/>
              <a:t> </a:t>
            </a:r>
            <a:r>
              <a:rPr lang="es-ES" dirty="0" err="1"/>
              <a:t>that</a:t>
            </a:r>
            <a:r>
              <a:rPr lang="es-ES" dirty="0"/>
              <a:t> combine </a:t>
            </a:r>
            <a:r>
              <a:rPr lang="es-ES" dirty="0" err="1"/>
              <a:t>environmental</a:t>
            </a:r>
            <a:r>
              <a:rPr lang="es-ES" dirty="0"/>
              <a:t> </a:t>
            </a:r>
            <a:r>
              <a:rPr lang="es-ES" dirty="0" err="1"/>
              <a:t>responsibility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uncompromising</a:t>
            </a:r>
            <a:r>
              <a:rPr lang="es-ES" dirty="0"/>
              <a:t> premium </a:t>
            </a:r>
            <a:r>
              <a:rPr lang="es-ES" dirty="0" err="1"/>
              <a:t>quality</a:t>
            </a:r>
            <a:r>
              <a:rPr lang="es-ES" dirty="0"/>
              <a:t>.</a:t>
            </a:r>
          </a:p>
          <a:p>
            <a:pPr marL="180414" marR="0" lvl="0" indent="-18041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b="1" i="0" dirty="0" err="1"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kalan</a:t>
            </a:r>
            <a:r>
              <a:rPr lang="es-ES" b="1" i="0" baseline="30000" dirty="0"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es-ES" b="1" i="0" dirty="0"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RO 3500 </a:t>
            </a:r>
            <a:r>
              <a:rPr lang="es-ES" i="0" dirty="0" err="1"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s</a:t>
            </a:r>
            <a:r>
              <a:rPr lang="es-ES" i="0" dirty="0"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multifunctional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antiscalant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 reverse osmosis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membrane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treatment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especially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designed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water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reuse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applications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It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is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not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causing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eutrophication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water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i="0" dirty="0" err="1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bodies</a:t>
            </a:r>
            <a:r>
              <a:rPr lang="es-ES" i="0" dirty="0">
                <a:latin typeface="Helvetica Neue LT W06 55 Roman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es-ES" b="1" dirty="0"/>
          </a:p>
          <a:p>
            <a:pPr marL="180414" indent="-180414">
              <a:buFont typeface="Arial" panose="020B0604020202020204" pitchFamily="34" charset="0"/>
              <a:buChar char="•"/>
            </a:pPr>
            <a:r>
              <a:rPr lang="es-ES" b="1" dirty="0" err="1"/>
              <a:t>Ultramid</a:t>
            </a:r>
            <a:r>
              <a:rPr lang="es-ES" b="1" baseline="30000" dirty="0"/>
              <a:t>®</a:t>
            </a:r>
            <a:r>
              <a:rPr lang="es-ES" b="1" dirty="0"/>
              <a:t> Flex F38 </a:t>
            </a:r>
            <a:r>
              <a:rPr lang="es-ES" b="0" i="0" u="none" strike="noStrike" baseline="0" dirty="0" err="1">
                <a:latin typeface="Arial" panose="020B0604020202020204" pitchFamily="34" charset="0"/>
              </a:rPr>
              <a:t>contains</a:t>
            </a:r>
            <a:r>
              <a:rPr lang="es-ES" b="0" i="0" u="none" strike="noStrike" baseline="0" dirty="0">
                <a:latin typeface="Arial" panose="020B0604020202020204" pitchFamily="34" charset="0"/>
              </a:rPr>
              <a:t> 25 </a:t>
            </a:r>
            <a:r>
              <a:rPr lang="es-ES" b="0" i="0" u="none" strike="noStrike" baseline="0" dirty="0" err="1">
                <a:latin typeface="Arial" panose="020B0604020202020204" pitchFamily="34" charset="0"/>
              </a:rPr>
              <a:t>percent</a:t>
            </a:r>
            <a:r>
              <a:rPr lang="es-ES" b="0" i="0" u="none" strike="noStrike" baseline="0" dirty="0">
                <a:latin typeface="Arial" panose="020B0604020202020204" pitchFamily="34" charset="0"/>
              </a:rPr>
              <a:t> </a:t>
            </a:r>
            <a:r>
              <a:rPr lang="es-ES" b="0" i="0" u="none" strike="noStrike" baseline="0" dirty="0" err="1">
                <a:latin typeface="Arial" panose="020B0604020202020204" pitchFamily="34" charset="0"/>
              </a:rPr>
              <a:t>of</a:t>
            </a:r>
            <a:r>
              <a:rPr lang="es-ES" b="0" i="0" u="none" strike="noStrike" baseline="0" dirty="0">
                <a:latin typeface="Arial" panose="020B0604020202020204" pitchFamily="34" charset="0"/>
              </a:rPr>
              <a:t> bio-</a:t>
            </a:r>
            <a:r>
              <a:rPr lang="es-ES" b="0" i="0" u="none" strike="noStrike" baseline="0" dirty="0" err="1">
                <a:latin typeface="Arial" panose="020B0604020202020204" pitchFamily="34" charset="0"/>
              </a:rPr>
              <a:t>based</a:t>
            </a:r>
            <a:r>
              <a:rPr lang="es-ES" b="0" i="0" u="none" strike="noStrike" baseline="0" dirty="0">
                <a:latin typeface="Arial" panose="020B0604020202020204" pitchFamily="34" charset="0"/>
              </a:rPr>
              <a:t> raw material. </a:t>
            </a:r>
            <a:r>
              <a:rPr lang="es-ES" b="0" i="0" u="none" strike="noStrike" baseline="0" dirty="0" err="1">
                <a:latin typeface="Arial" panose="020B0604020202020204" pitchFamily="34" charset="0"/>
              </a:rPr>
              <a:t>The</a:t>
            </a:r>
            <a:r>
              <a:rPr lang="es-ES" b="0" i="0" u="none" strike="noStrike" baseline="0" dirty="0">
                <a:latin typeface="Arial" panose="020B0604020202020204" pitchFamily="34" charset="0"/>
              </a:rPr>
              <a:t> </a:t>
            </a:r>
            <a:r>
              <a:rPr lang="es-ES" b="0" i="0" u="none" strike="noStrike" baseline="0" dirty="0" err="1">
                <a:latin typeface="Arial" panose="020B0604020202020204" pitchFamily="34" charset="0"/>
              </a:rPr>
              <a:t>soft</a:t>
            </a:r>
            <a:r>
              <a:rPr lang="es-ES" b="0" i="0" u="none" strike="noStrike" baseline="0" dirty="0">
                <a:latin typeface="Arial" panose="020B0604020202020204" pitchFamily="34" charset="0"/>
              </a:rPr>
              <a:t> and </a:t>
            </a:r>
            <a:r>
              <a:rPr lang="es-ES" b="0" i="0" u="none" strike="noStrike" baseline="0" dirty="0" err="1">
                <a:latin typeface="Arial" panose="020B0604020202020204" pitchFamily="34" charset="0"/>
              </a:rPr>
              <a:t>strong</a:t>
            </a:r>
            <a:r>
              <a:rPr lang="es-ES" b="0" i="0" u="none" strike="noStrike" baseline="0" dirty="0">
                <a:latin typeface="Arial" panose="020B0604020202020204" pitchFamily="34" charset="0"/>
              </a:rPr>
              <a:t> </a:t>
            </a:r>
            <a:r>
              <a:rPr lang="es-ES" b="0" i="0" u="none" strike="noStrike" baseline="0" dirty="0" err="1">
                <a:latin typeface="Arial" panose="020B0604020202020204" pitchFamily="34" charset="0"/>
              </a:rPr>
              <a:t>copolymer</a:t>
            </a:r>
            <a:r>
              <a:rPr lang="es-ES" b="0" i="0" u="none" strike="noStrike" baseline="0" dirty="0">
                <a:latin typeface="Arial" panose="020B0604020202020204" pitchFamily="34" charset="0"/>
              </a:rPr>
              <a:t> can be </a:t>
            </a:r>
            <a:r>
              <a:rPr lang="es-ES" b="0" i="0" u="none" strike="noStrike" baseline="0" dirty="0" err="1">
                <a:latin typeface="Arial" panose="020B0604020202020204" pitchFamily="34" charset="0"/>
              </a:rPr>
              <a:t>applied</a:t>
            </a:r>
            <a:r>
              <a:rPr lang="es-ES" b="0" i="0" u="none" strike="noStrike" baseline="0" dirty="0">
                <a:latin typeface="Arial" panose="020B0604020202020204" pitchFamily="34" charset="0"/>
              </a:rPr>
              <a:t> </a:t>
            </a:r>
            <a:r>
              <a:rPr lang="es-ES" b="0" i="0" u="none" strike="noStrike" baseline="0" dirty="0" err="1">
                <a:latin typeface="Arial" panose="020B0604020202020204" pitchFamily="34" charset="0"/>
              </a:rPr>
              <a:t>e.g</a:t>
            </a:r>
            <a:r>
              <a:rPr lang="es-ES" b="0" i="0" u="none" strike="noStrike" baseline="0" dirty="0">
                <a:latin typeface="Arial" panose="020B0604020202020204" pitchFamily="34" charset="0"/>
              </a:rPr>
              <a:t>. </a:t>
            </a:r>
            <a:r>
              <a:rPr lang="es-ES" b="0" i="0" u="none" strike="noStrike" baseline="0" dirty="0" err="1">
                <a:latin typeface="Arial" panose="020B0604020202020204" pitchFamily="34" charset="0"/>
              </a:rPr>
              <a:t>to</a:t>
            </a:r>
            <a:r>
              <a:rPr lang="es-ES" b="0" i="0" u="none" strike="noStrike" baseline="0" dirty="0">
                <a:latin typeface="Arial" panose="020B0604020202020204" pitchFamily="34" charset="0"/>
              </a:rPr>
              <a:t> </a:t>
            </a:r>
            <a:r>
              <a:rPr lang="es-ES" b="0" i="0" u="none" strike="noStrike" baseline="0" dirty="0" err="1">
                <a:latin typeface="Arial" panose="020B0604020202020204" pitchFamily="34" charset="0"/>
              </a:rPr>
              <a:t>cheese</a:t>
            </a:r>
            <a:r>
              <a:rPr lang="es-ES" b="0" i="0" u="none" strike="noStrike" baseline="0" dirty="0">
                <a:latin typeface="Arial" panose="020B0604020202020204" pitchFamily="34" charset="0"/>
              </a:rPr>
              <a:t> </a:t>
            </a:r>
            <a:r>
              <a:rPr lang="es-ES" b="0" i="0" u="none" strike="noStrike" baseline="0" dirty="0" err="1">
                <a:latin typeface="Arial" panose="020B0604020202020204" pitchFamily="34" charset="0"/>
              </a:rPr>
              <a:t>ripening</a:t>
            </a:r>
            <a:r>
              <a:rPr lang="es-ES" b="0" i="0" u="none" strike="noStrike" baseline="0" dirty="0">
                <a:latin typeface="Arial" panose="020B0604020202020204" pitchFamily="34" charset="0"/>
              </a:rPr>
              <a:t> bags, </a:t>
            </a:r>
            <a:r>
              <a:rPr lang="es-ES" b="0" i="0" u="none" strike="noStrike" baseline="0" dirty="0" err="1">
                <a:latin typeface="Arial" panose="020B0604020202020204" pitchFamily="34" charset="0"/>
              </a:rPr>
              <a:t>agricultural</a:t>
            </a:r>
            <a:r>
              <a:rPr lang="es-ES" b="0" i="0" u="none" strike="noStrike" baseline="0" dirty="0">
                <a:latin typeface="Arial" panose="020B0604020202020204" pitchFamily="34" charset="0"/>
              </a:rPr>
              <a:t> films, </a:t>
            </a:r>
            <a:r>
              <a:rPr lang="es-ES" b="0" i="0" u="none" strike="noStrike" baseline="0" dirty="0" err="1">
                <a:latin typeface="Arial" panose="020B0604020202020204" pitchFamily="34" charset="0"/>
              </a:rPr>
              <a:t>or</a:t>
            </a:r>
            <a:r>
              <a:rPr lang="es-ES" b="0" i="0" u="none" strike="noStrike" baseline="0" dirty="0">
                <a:latin typeface="Arial" panose="020B0604020202020204" pitchFamily="34" charset="0"/>
              </a:rPr>
              <a:t> </a:t>
            </a:r>
            <a:r>
              <a:rPr lang="es-ES" b="0" i="0" u="none" strike="noStrike" baseline="0" dirty="0" err="1">
                <a:latin typeface="Arial" panose="020B0604020202020204" pitchFamily="34" charset="0"/>
              </a:rPr>
              <a:t>vacuum</a:t>
            </a:r>
            <a:r>
              <a:rPr lang="es-ES" b="0" i="0" u="none" strike="noStrike" baseline="0" dirty="0">
                <a:latin typeface="Arial" panose="020B0604020202020204" pitchFamily="34" charset="0"/>
              </a:rPr>
              <a:t> skin </a:t>
            </a:r>
            <a:r>
              <a:rPr lang="es-ES" b="0" i="0" u="none" strike="noStrike" baseline="0" dirty="0" err="1">
                <a:latin typeface="Arial" panose="020B0604020202020204" pitchFamily="34" charset="0"/>
              </a:rPr>
              <a:t>packaging</a:t>
            </a:r>
            <a:r>
              <a:rPr lang="es-ES" b="0" i="0" u="none" strike="noStrike" baseline="0" dirty="0">
                <a:latin typeface="Arial" panose="020B0604020202020204" pitchFamily="34" charset="0"/>
              </a:rPr>
              <a:t>.  </a:t>
            </a:r>
          </a:p>
          <a:p>
            <a:pPr marL="180414" indent="-180414">
              <a:buFont typeface="Arial" panose="020B0604020202020204" pitchFamily="34" charset="0"/>
              <a:buChar char="•"/>
              <a:defRPr/>
            </a:pPr>
            <a:r>
              <a:rPr lang="es-ES" b="1" dirty="0" err="1"/>
              <a:t>PrimeCube</a:t>
            </a:r>
            <a:r>
              <a:rPr lang="es-ES" b="1" baseline="30000" dirty="0"/>
              <a:t>®</a:t>
            </a:r>
            <a:r>
              <a:rPr lang="es-ES" dirty="0"/>
              <a:t> </a:t>
            </a:r>
            <a:r>
              <a:rPr lang="es-ES" dirty="0" err="1"/>
              <a:t>is</a:t>
            </a:r>
            <a:r>
              <a:rPr lang="es-ES" dirty="0"/>
              <a:t> a new </a:t>
            </a:r>
            <a:r>
              <a:rPr lang="es-ES" dirty="0" err="1"/>
              <a:t>technology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BASF’s</a:t>
            </a:r>
            <a:r>
              <a:rPr lang="es-ES" dirty="0"/>
              <a:t> </a:t>
            </a:r>
            <a:r>
              <a:rPr lang="es-ES" dirty="0" err="1"/>
              <a:t>Coatings</a:t>
            </a:r>
            <a:r>
              <a:rPr lang="es-ES" dirty="0"/>
              <a:t> </a:t>
            </a:r>
            <a:r>
              <a:rPr lang="es-ES" dirty="0" err="1"/>
              <a:t>division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coating</a:t>
            </a:r>
            <a:r>
              <a:rPr lang="es-ES" dirty="0"/>
              <a:t> </a:t>
            </a:r>
            <a:r>
              <a:rPr lang="es-ES" dirty="0" err="1"/>
              <a:t>truck</a:t>
            </a:r>
            <a:r>
              <a:rPr lang="es-ES" dirty="0"/>
              <a:t> </a:t>
            </a:r>
            <a:r>
              <a:rPr lang="es-ES" dirty="0" err="1"/>
              <a:t>cabins</a:t>
            </a:r>
            <a:r>
              <a:rPr lang="es-ES" dirty="0"/>
              <a:t>.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topcoat</a:t>
            </a:r>
            <a:r>
              <a:rPr lang="es-ES" dirty="0"/>
              <a:t> (“</a:t>
            </a:r>
            <a:r>
              <a:rPr lang="es-ES" dirty="0" err="1"/>
              <a:t>ColorPrime</a:t>
            </a:r>
            <a:r>
              <a:rPr lang="es-ES" dirty="0"/>
              <a:t>”) </a:t>
            </a:r>
            <a:r>
              <a:rPr lang="es-ES" dirty="0" err="1"/>
              <a:t>is</a:t>
            </a:r>
            <a:r>
              <a:rPr lang="es-ES" dirty="0"/>
              <a:t> </a:t>
            </a:r>
            <a:r>
              <a:rPr lang="es-ES" dirty="0" err="1"/>
              <a:t>applied</a:t>
            </a:r>
            <a:r>
              <a:rPr lang="es-ES" dirty="0"/>
              <a:t> </a:t>
            </a:r>
            <a:r>
              <a:rPr lang="es-ES" dirty="0" err="1"/>
              <a:t>wet-on-wet</a:t>
            </a:r>
            <a:r>
              <a:rPr lang="es-ES" dirty="0"/>
              <a:t> </a:t>
            </a:r>
            <a:r>
              <a:rPr lang="es-ES" dirty="0" err="1"/>
              <a:t>o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primer (“</a:t>
            </a:r>
            <a:r>
              <a:rPr lang="es-ES" dirty="0" err="1"/>
              <a:t>PrimeBloc</a:t>
            </a:r>
            <a:r>
              <a:rPr lang="es-ES" dirty="0"/>
              <a:t>”). So </a:t>
            </a:r>
            <a:r>
              <a:rPr lang="es-ES" dirty="0" err="1"/>
              <a:t>there</a:t>
            </a:r>
            <a:r>
              <a:rPr lang="es-ES" dirty="0"/>
              <a:t> </a:t>
            </a:r>
            <a:r>
              <a:rPr lang="es-ES" dirty="0" err="1"/>
              <a:t>is</a:t>
            </a:r>
            <a:r>
              <a:rPr lang="es-ES" dirty="0"/>
              <a:t> no </a:t>
            </a:r>
            <a:r>
              <a:rPr lang="es-ES" dirty="0" err="1"/>
              <a:t>need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drying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primer and </a:t>
            </a:r>
            <a:r>
              <a:rPr lang="es-ES" dirty="0" err="1"/>
              <a:t>the</a:t>
            </a:r>
            <a:r>
              <a:rPr lang="es-ES" dirty="0"/>
              <a:t> flash-off time </a:t>
            </a:r>
            <a:r>
              <a:rPr lang="es-ES" dirty="0" err="1"/>
              <a:t>is</a:t>
            </a:r>
            <a:r>
              <a:rPr lang="es-ES" dirty="0"/>
              <a:t> </a:t>
            </a:r>
            <a:r>
              <a:rPr lang="es-ES" dirty="0" err="1"/>
              <a:t>extremely</a:t>
            </a:r>
            <a:r>
              <a:rPr lang="es-ES" dirty="0"/>
              <a:t> </a:t>
            </a:r>
            <a:r>
              <a:rPr lang="es-ES" dirty="0" err="1"/>
              <a:t>reduced</a:t>
            </a:r>
            <a:r>
              <a:rPr lang="es-ES" dirty="0"/>
              <a:t>. </a:t>
            </a:r>
            <a:r>
              <a:rPr lang="es-ES" dirty="0" err="1"/>
              <a:t>PrimeCube</a:t>
            </a:r>
            <a:r>
              <a:rPr lang="es-ES" baseline="30000" dirty="0"/>
              <a:t>®</a:t>
            </a:r>
            <a:r>
              <a:rPr lang="es-ES" dirty="0"/>
              <a:t> reduces </a:t>
            </a:r>
            <a:r>
              <a:rPr lang="es-ES" dirty="0" err="1"/>
              <a:t>emissions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volatile</a:t>
            </a:r>
            <a:r>
              <a:rPr lang="es-ES" dirty="0"/>
              <a:t> </a:t>
            </a:r>
            <a:r>
              <a:rPr lang="es-ES" dirty="0" err="1"/>
              <a:t>organic</a:t>
            </a:r>
            <a:r>
              <a:rPr lang="es-ES" dirty="0"/>
              <a:t> </a:t>
            </a:r>
            <a:r>
              <a:rPr lang="es-ES" dirty="0" err="1"/>
              <a:t>compounds</a:t>
            </a:r>
            <a:r>
              <a:rPr lang="es-ES" dirty="0"/>
              <a:t> (</a:t>
            </a:r>
            <a:r>
              <a:rPr lang="es-ES" dirty="0" err="1"/>
              <a:t>VOCs</a:t>
            </a:r>
            <a:r>
              <a:rPr lang="es-ES" dirty="0"/>
              <a:t>) and </a:t>
            </a:r>
            <a:r>
              <a:rPr lang="es-ES" dirty="0" err="1"/>
              <a:t>requires</a:t>
            </a:r>
            <a:r>
              <a:rPr lang="es-ES" dirty="0"/>
              <a:t> up </a:t>
            </a:r>
            <a:r>
              <a:rPr lang="es-ES" dirty="0" err="1"/>
              <a:t>to</a:t>
            </a:r>
            <a:r>
              <a:rPr lang="es-ES" dirty="0"/>
              <a:t> 40 </a:t>
            </a:r>
            <a:r>
              <a:rPr lang="es-ES" dirty="0" err="1"/>
              <a:t>percent</a:t>
            </a:r>
            <a:r>
              <a:rPr lang="es-ES" dirty="0"/>
              <a:t> </a:t>
            </a:r>
            <a:r>
              <a:rPr lang="es-ES" dirty="0" err="1"/>
              <a:t>less</a:t>
            </a:r>
            <a:r>
              <a:rPr lang="es-ES" dirty="0"/>
              <a:t> </a:t>
            </a:r>
            <a:r>
              <a:rPr lang="es-ES" dirty="0" err="1"/>
              <a:t>primary</a:t>
            </a:r>
            <a:r>
              <a:rPr lang="es-ES" dirty="0"/>
              <a:t> </a:t>
            </a:r>
            <a:r>
              <a:rPr lang="es-ES" dirty="0" err="1"/>
              <a:t>energy</a:t>
            </a:r>
            <a:r>
              <a:rPr lang="es-ES" dirty="0"/>
              <a:t>. </a:t>
            </a:r>
          </a:p>
          <a:p>
            <a:pPr marL="180414" marR="0" lvl="0" indent="-18041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b="1" dirty="0" err="1">
                <a:solidFill>
                  <a:srgbClr val="000000"/>
                </a:solidFill>
                <a:cs typeface="Arial"/>
              </a:rPr>
              <a:t>Vault</a:t>
            </a:r>
            <a:r>
              <a:rPr lang="es-ES" b="1" baseline="30000" dirty="0"/>
              <a:t>®</a:t>
            </a:r>
            <a:r>
              <a:rPr lang="es-ES" b="1" dirty="0">
                <a:solidFill>
                  <a:srgbClr val="000000"/>
                </a:solidFill>
                <a:cs typeface="Arial"/>
              </a:rPr>
              <a:t> HP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is</a:t>
            </a:r>
            <a:r>
              <a:rPr lang="es-ES" dirty="0">
                <a:solidFill>
                  <a:srgbClr val="000000"/>
                </a:solidFill>
                <a:cs typeface="Arial"/>
              </a:rPr>
              <a:t> a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multi-component</a:t>
            </a:r>
            <a:r>
              <a:rPr lang="es-ES" dirty="0">
                <a:solidFill>
                  <a:srgbClr val="000000"/>
                </a:solidFill>
                <a:cs typeface="Arial"/>
              </a:rPr>
              <a:t>,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yield-enhancing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biological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seed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treatment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system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for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soybeans</a:t>
            </a:r>
            <a:r>
              <a:rPr lang="es-ES" dirty="0">
                <a:solidFill>
                  <a:srgbClr val="000000"/>
                </a:solidFill>
                <a:cs typeface="Arial"/>
              </a:rPr>
              <a:t> and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other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dicots</a:t>
            </a:r>
            <a:r>
              <a:rPr lang="es-ES" dirty="0">
                <a:solidFill>
                  <a:srgbClr val="000000"/>
                </a:solidFill>
                <a:cs typeface="Arial"/>
              </a:rPr>
              <a:t>.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The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robust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rhizobial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inoculant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improves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root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nodulation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for</a:t>
            </a:r>
            <a:r>
              <a:rPr lang="es-ES" dirty="0">
                <a:solidFill>
                  <a:srgbClr val="000000"/>
                </a:solidFill>
                <a:cs typeface="Arial"/>
              </a:rPr>
              <a:t> more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nitrogen-fixation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potential</a:t>
            </a:r>
            <a:r>
              <a:rPr lang="es-ES" dirty="0">
                <a:solidFill>
                  <a:srgbClr val="000000"/>
                </a:solidFill>
                <a:cs typeface="Arial"/>
              </a:rPr>
              <a:t>,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improved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root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architecture</a:t>
            </a:r>
            <a:r>
              <a:rPr lang="es-ES" dirty="0">
                <a:solidFill>
                  <a:srgbClr val="000000"/>
                </a:solidFill>
                <a:cs typeface="Arial"/>
              </a:rPr>
              <a:t> and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nutrient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uptake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resulting</a:t>
            </a:r>
            <a:r>
              <a:rPr lang="es-ES" dirty="0">
                <a:solidFill>
                  <a:srgbClr val="000000"/>
                </a:solidFill>
                <a:cs typeface="Arial"/>
              </a:rPr>
              <a:t> in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greater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plant</a:t>
            </a:r>
            <a:r>
              <a:rPr lang="es-ES" dirty="0">
                <a:solidFill>
                  <a:srgbClr val="000000"/>
                </a:solidFill>
                <a:cs typeface="Arial"/>
              </a:rPr>
              <a:t> vigor, stress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reduction</a:t>
            </a:r>
            <a:r>
              <a:rPr lang="es-ES" dirty="0">
                <a:solidFill>
                  <a:srgbClr val="000000"/>
                </a:solidFill>
                <a:cs typeface="Arial"/>
              </a:rPr>
              <a:t>, and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optimized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yield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potential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to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support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grower’s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business</a:t>
            </a:r>
            <a:r>
              <a:rPr lang="es-ES" dirty="0">
                <a:solidFill>
                  <a:srgbClr val="000000"/>
                </a:solidFill>
                <a:cs typeface="Arial"/>
              </a:rPr>
              <a:t> and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production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sustainability</a:t>
            </a:r>
            <a:r>
              <a:rPr lang="es-ES" dirty="0">
                <a:solidFill>
                  <a:srgbClr val="000000"/>
                </a:solidFill>
                <a:cs typeface="Arial"/>
              </a:rPr>
              <a:t>.</a:t>
            </a:r>
          </a:p>
          <a:p>
            <a:pPr marL="180414" lvl="0" indent="-180414">
              <a:buFont typeface="Arial" panose="020B0604020202020204" pitchFamily="34" charset="0"/>
              <a:buChar char="•"/>
              <a:defRPr/>
            </a:pPr>
            <a:r>
              <a:rPr lang="es-ES" b="1" dirty="0" err="1">
                <a:solidFill>
                  <a:srgbClr val="000000"/>
                </a:solidFill>
                <a:cs typeface="Arial"/>
              </a:rPr>
              <a:t>Merivon</a:t>
            </a:r>
            <a:r>
              <a:rPr lang="es-ES" b="1" baseline="30000" dirty="0"/>
              <a:t>®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fungicide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delivers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advanced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disease</a:t>
            </a:r>
            <a:r>
              <a:rPr lang="es-ES" dirty="0">
                <a:solidFill>
                  <a:srgbClr val="000000"/>
                </a:solidFill>
                <a:cs typeface="Arial"/>
              </a:rPr>
              <a:t> control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along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with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the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proven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AgCelence</a:t>
            </a:r>
            <a:r>
              <a:rPr lang="es-ES" b="1" baseline="30000" dirty="0"/>
              <a:t>®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benefits</a:t>
            </a:r>
            <a:r>
              <a:rPr lang="es-ES" dirty="0">
                <a:solidFill>
                  <a:srgbClr val="000000"/>
                </a:solidFill>
                <a:cs typeface="Arial"/>
              </a:rPr>
              <a:t> /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Plant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Health</a:t>
            </a:r>
            <a:r>
              <a:rPr lang="es-ES" dirty="0">
                <a:solidFill>
                  <a:srgbClr val="000000"/>
                </a:solidFill>
                <a:cs typeface="Arial"/>
              </a:rPr>
              <a:t>. In grapes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the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product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improves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marketable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quality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by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increasing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the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bunch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weight</a:t>
            </a:r>
            <a:r>
              <a:rPr lang="es-ES" dirty="0">
                <a:solidFill>
                  <a:srgbClr val="000000"/>
                </a:solidFill>
                <a:cs typeface="Arial"/>
              </a:rPr>
              <a:t>,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reducing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the</a:t>
            </a:r>
            <a:r>
              <a:rPr lang="es-ES" dirty="0">
                <a:solidFill>
                  <a:srgbClr val="000000"/>
                </a:solidFill>
                <a:cs typeface="Arial"/>
              </a:rPr>
              <a:t> cracking and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shattering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of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the</a:t>
            </a:r>
            <a:r>
              <a:rPr lang="es-ES" dirty="0">
                <a:solidFill>
                  <a:srgbClr val="000000"/>
                </a:solidFill>
                <a:cs typeface="Arial"/>
              </a:rPr>
              <a:t> </a:t>
            </a:r>
            <a:r>
              <a:rPr lang="es-ES" dirty="0" err="1">
                <a:solidFill>
                  <a:srgbClr val="000000"/>
                </a:solidFill>
                <a:cs typeface="Arial"/>
              </a:rPr>
              <a:t>berries</a:t>
            </a:r>
            <a:r>
              <a:rPr lang="es-ES" dirty="0">
                <a:solidFill>
                  <a:srgbClr val="000000"/>
                </a:solidFill>
                <a:cs typeface="Arial"/>
              </a:rPr>
              <a:t>. </a:t>
            </a:r>
          </a:p>
          <a:p>
            <a:pPr marL="180414" marR="0" lvl="0" indent="-18041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b="1" dirty="0" err="1">
                <a:effectLst/>
              </a:rPr>
              <a:t>Natuphos</a:t>
            </a:r>
            <a:r>
              <a:rPr lang="es-ES" b="1" baseline="30000" dirty="0">
                <a:effectLst/>
              </a:rPr>
              <a:t>®</a:t>
            </a:r>
            <a:r>
              <a:rPr lang="es-ES" b="1" dirty="0">
                <a:effectLst/>
              </a:rPr>
              <a:t> E </a:t>
            </a:r>
            <a:r>
              <a:rPr lang="es-ES" b="0" dirty="0">
                <a:effectLst/>
              </a:rPr>
              <a:t>–</a:t>
            </a:r>
            <a:r>
              <a:rPr lang="es-ES" b="1" dirty="0">
                <a:effectLst/>
              </a:rPr>
              <a:t> 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oday’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nimal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utrition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nzyme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hytase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help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ig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nd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oultry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o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gest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nd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bsorb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hosphoru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n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ssential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mineral in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eed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lant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ASF’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new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hytase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atuphos</a:t>
            </a:r>
            <a:r>
              <a:rPr lang="es-ES" kern="1200" baseline="300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E, can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lease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ar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more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hosphoru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or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nimal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rom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lant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an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reviou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generation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f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nzyme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atuphos</a:t>
            </a:r>
            <a:r>
              <a:rPr lang="es-ES" kern="1200" baseline="300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E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llow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ur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ustomer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o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use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ewer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organic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ource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f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hosphate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in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ir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eed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roduction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hytase-enriched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feed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lso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reduces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mount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f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hosphate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xcreted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y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ig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nd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oultry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y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30-40%,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hich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in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urn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enefit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e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nvironment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rough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t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levated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fficiency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Natuphos</a:t>
            </a:r>
            <a:r>
              <a:rPr lang="es-ES" kern="1200" baseline="300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®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E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xceed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is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figure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y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third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ignificantly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educing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hosphate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ollution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in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oil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nd </a:t>
            </a:r>
            <a:r>
              <a:rPr lang="es-ES" kern="1200" noProof="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water</a:t>
            </a:r>
            <a:r>
              <a:rPr lang="es-ES" kern="1200" noProof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</a:t>
            </a:r>
            <a:endParaRPr lang="es-ES" b="0" kern="1200" noProof="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pPr marL="180414" marR="0" lvl="0" indent="-18041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dirty="0"/>
              <a:t>Quick </a:t>
            </a:r>
            <a:r>
              <a:rPr lang="es-ES" dirty="0" err="1"/>
              <a:t>repairs</a:t>
            </a:r>
            <a:r>
              <a:rPr lang="es-ES" dirty="0"/>
              <a:t> are </a:t>
            </a:r>
            <a:r>
              <a:rPr lang="es-ES" dirty="0" err="1"/>
              <a:t>now</a:t>
            </a:r>
            <a:r>
              <a:rPr lang="es-ES" dirty="0"/>
              <a:t> </a:t>
            </a:r>
            <a:r>
              <a:rPr lang="es-ES" dirty="0" err="1"/>
              <a:t>even</a:t>
            </a:r>
            <a:r>
              <a:rPr lang="es-ES" dirty="0"/>
              <a:t> more </a:t>
            </a:r>
            <a:r>
              <a:rPr lang="es-ES" dirty="0" err="1"/>
              <a:t>efficient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b="1" dirty="0" err="1"/>
              <a:t>Glasurit</a:t>
            </a:r>
            <a:r>
              <a:rPr lang="es-ES" b="1" dirty="0"/>
              <a:t> 923-610 HS Clear </a:t>
            </a:r>
            <a:r>
              <a:rPr lang="es-ES" dirty="0" err="1"/>
              <a:t>fast</a:t>
            </a:r>
            <a:r>
              <a:rPr lang="es-ES" dirty="0"/>
              <a:t> </a:t>
            </a:r>
            <a:r>
              <a:rPr lang="es-ES" dirty="0" err="1"/>
              <a:t>drying</a:t>
            </a:r>
            <a:r>
              <a:rPr lang="es-ES" dirty="0"/>
              <a:t> VOC. </a:t>
            </a:r>
            <a:r>
              <a:rPr lang="es-ES" dirty="0" err="1"/>
              <a:t>The</a:t>
            </a:r>
            <a:r>
              <a:rPr lang="es-ES" dirty="0"/>
              <a:t> new </a:t>
            </a:r>
            <a:r>
              <a:rPr lang="es-ES" dirty="0" err="1"/>
              <a:t>clearcoat</a:t>
            </a:r>
            <a:r>
              <a:rPr lang="es-ES" dirty="0"/>
              <a:t> </a:t>
            </a:r>
            <a:r>
              <a:rPr lang="es-ES" dirty="0" err="1"/>
              <a:t>needs</a:t>
            </a:r>
            <a:r>
              <a:rPr lang="es-ES" dirty="0"/>
              <a:t> no flash-off time and </a:t>
            </a:r>
            <a:r>
              <a:rPr lang="es-ES" dirty="0" err="1"/>
              <a:t>provides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excellent</a:t>
            </a:r>
            <a:r>
              <a:rPr lang="es-ES" dirty="0"/>
              <a:t> </a:t>
            </a:r>
            <a:r>
              <a:rPr lang="es-ES" dirty="0" err="1"/>
              <a:t>finish</a:t>
            </a:r>
            <a:r>
              <a:rPr lang="es-ES" dirty="0"/>
              <a:t> after </a:t>
            </a:r>
            <a:r>
              <a:rPr lang="es-ES" dirty="0" err="1"/>
              <a:t>only</a:t>
            </a:r>
            <a:r>
              <a:rPr lang="es-ES" dirty="0"/>
              <a:t> a short </a:t>
            </a:r>
            <a:r>
              <a:rPr lang="es-ES" dirty="0" err="1"/>
              <a:t>drying</a:t>
            </a:r>
            <a:r>
              <a:rPr lang="es-ES" dirty="0"/>
              <a:t> time in </a:t>
            </a:r>
            <a:r>
              <a:rPr lang="es-ES" dirty="0" err="1"/>
              <a:t>the</a:t>
            </a:r>
            <a:r>
              <a:rPr lang="es-ES" dirty="0"/>
              <a:t> oven at 60 °C panel </a:t>
            </a:r>
            <a:r>
              <a:rPr lang="es-ES" dirty="0" err="1"/>
              <a:t>temperature</a:t>
            </a:r>
            <a:r>
              <a:rPr lang="es-ES" dirty="0"/>
              <a:t>. </a:t>
            </a:r>
          </a:p>
          <a:p>
            <a:pPr defTabSz="911565">
              <a:spcBef>
                <a:spcPts val="897"/>
              </a:spcBef>
              <a:defRPr/>
            </a:pPr>
            <a:endParaRPr lang="es-ES" sz="900" i="1" dirty="0"/>
          </a:p>
          <a:p>
            <a:pPr defTabSz="911565">
              <a:spcBef>
                <a:spcPts val="897"/>
              </a:spcBef>
              <a:defRPr/>
            </a:pPr>
            <a:r>
              <a:rPr lang="es-ES" sz="900" i="1" dirty="0" err="1"/>
              <a:t>Source</a:t>
            </a:r>
            <a:r>
              <a:rPr lang="es-ES" sz="900" i="1" dirty="0"/>
              <a:t>: Accelerator </a:t>
            </a:r>
            <a:r>
              <a:rPr lang="es-ES" sz="900" i="1" dirty="0" err="1"/>
              <a:t>example</a:t>
            </a:r>
            <a:r>
              <a:rPr lang="es-ES" sz="900" i="1" dirty="0"/>
              <a:t> </a:t>
            </a:r>
            <a:r>
              <a:rPr lang="es-ES" sz="900" i="1" dirty="0" err="1"/>
              <a:t>collection</a:t>
            </a:r>
            <a:r>
              <a:rPr lang="es-ES" sz="900" i="1" dirty="0"/>
              <a:t>: https://www.basf.net/irj/go/km/docs/basfnet/media/authors/docs/Sustainability/Sustainable%20Solution%20Steering%20Accelerator%20Collection.pdf.</a:t>
            </a:r>
          </a:p>
        </p:txBody>
      </p:sp>
    </p:spTree>
    <p:extLst>
      <p:ext uri="{BB962C8B-B14F-4D97-AF65-F5344CB8AC3E}">
        <p14:creationId xmlns:p14="http://schemas.microsoft.com/office/powerpoint/2010/main" val="40114228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4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50D389-EE93-403F-82B7-ECFE41994C28}"/>
              </a:ext>
            </a:extLst>
          </p:cNvPr>
          <p:cNvSpPr/>
          <p:nvPr userDrawn="1"/>
        </p:nvSpPr>
        <p:spPr>
          <a:xfrm>
            <a:off x="0" y="1944000"/>
            <a:ext cx="609609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11" name="Textplatzhalter 40">
            <a:extLst>
              <a:ext uri="{FF2B5EF4-FFF2-40B4-BE49-F238E27FC236}">
                <a16:creationId xmlns:a16="http://schemas.microsoft.com/office/drawing/2014/main" id="{CCA73983-FC39-4365-8E87-1CDA51E7C8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0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913F758D-D07B-48BC-93EA-5205F192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sz="3200" dirty="0"/>
              <a:t>Lorem Ipsum </a:t>
            </a:r>
            <a:r>
              <a:rPr lang="en-US" sz="3200" dirty="0" err="1"/>
              <a:t>dolormit</a:t>
            </a:r>
            <a:br>
              <a:rPr lang="en-US" sz="3200" dirty="0"/>
            </a:br>
            <a:r>
              <a:rPr lang="en-US" sz="3200" dirty="0" err="1"/>
              <a:t>amet</a:t>
            </a:r>
            <a:r>
              <a:rPr lang="en-US" sz="3200" dirty="0"/>
              <a:t> </a:t>
            </a:r>
            <a:r>
              <a:rPr lang="en-US" sz="3200" dirty="0" err="1"/>
              <a:t>avensis</a:t>
            </a:r>
            <a:r>
              <a:rPr lang="en-US" sz="3200" dirty="0"/>
              <a:t> </a:t>
            </a:r>
            <a:r>
              <a:rPr lang="en-US" sz="3200" dirty="0" err="1"/>
              <a:t>tusa</a:t>
            </a:r>
            <a:r>
              <a:rPr lang="en-US" sz="3200" dirty="0"/>
              <a:t>.</a:t>
            </a:r>
            <a:endParaRPr lang="de-DE" dirty="0"/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C56D8F4D-4313-4B49-9283-34C5E7DD0E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1.10.2020</a:t>
            </a:fld>
            <a:endParaRPr lang="de-DE" dirty="0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BBD903B7-A2BE-4903-A851-B189CAE9B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C39E56A5-B4A0-42C8-B598-F7C482B221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77A0830-D1C2-40CC-A850-7F26558D67EC}"/>
              </a:ext>
            </a:extLst>
          </p:cNvPr>
          <p:cNvGrpSpPr/>
          <p:nvPr userDrawn="1"/>
        </p:nvGrpSpPr>
        <p:grpSpPr>
          <a:xfrm>
            <a:off x="0" y="864000"/>
            <a:ext cx="6096098" cy="1080000"/>
            <a:chOff x="16241308" y="3368287"/>
            <a:chExt cx="6096098" cy="1080000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1C72451C-AE4F-45FF-AB49-DBD2B1317834}"/>
                </a:ext>
              </a:extLst>
            </p:cNvPr>
            <p:cNvSpPr/>
            <p:nvPr userDrawn="1"/>
          </p:nvSpPr>
          <p:spPr>
            <a:xfrm>
              <a:off x="16241308" y="3368287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FBFDED12-C59E-48F5-8411-76141CD9FB3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62922" y="3641970"/>
              <a:ext cx="1619425" cy="586722"/>
            </a:xfrm>
            <a:prstGeom prst="rect">
              <a:avLst/>
            </a:prstGeom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3489186217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F_Finale_V10_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AA48BB3E-A1F8-4F4B-BC11-253B6E01908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6586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>
            <a:extLst>
              <a:ext uri="{FF2B5EF4-FFF2-40B4-BE49-F238E27FC236}">
                <a16:creationId xmlns:a16="http://schemas.microsoft.com/office/drawing/2014/main" id="{C8190D39-4E74-44B8-B3BA-C61AAE8A7120}"/>
              </a:ext>
            </a:extLst>
          </p:cNvPr>
          <p:cNvSpPr/>
          <p:nvPr userDrawn="1"/>
        </p:nvSpPr>
        <p:spPr>
          <a:xfrm>
            <a:off x="1" y="800708"/>
            <a:ext cx="609609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C2D25662-4994-4A0B-AD1B-8A9B948CDA5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br>
              <a:rPr lang="en-US" sz="3400" dirty="0"/>
            </a:br>
            <a:endParaRPr lang="de-DE" sz="3400" b="0" dirty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F84EC263-BB04-4107-B0D9-FC130A795F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5D43AC25-5098-4456-9A78-DADF68794F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1.10.2020</a:t>
            </a:fld>
            <a:endParaRPr lang="de-DE" dirty="0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D9068C89-6EE1-4F5B-85D2-A2A0551AF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167D75CC-57B6-4692-A268-290C92303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1CB942B-7FE1-49D2-AE41-6691AAF73697}"/>
              </a:ext>
            </a:extLst>
          </p:cNvPr>
          <p:cNvGrpSpPr/>
          <p:nvPr userDrawn="1"/>
        </p:nvGrpSpPr>
        <p:grpSpPr>
          <a:xfrm>
            <a:off x="0" y="4687321"/>
            <a:ext cx="6096098" cy="1080000"/>
            <a:chOff x="16241308" y="3368287"/>
            <a:chExt cx="6096098" cy="108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A1EDDEC7-F117-43F1-A0C9-A6D5CB674C1E}"/>
                </a:ext>
              </a:extLst>
            </p:cNvPr>
            <p:cNvSpPr/>
            <p:nvPr userDrawn="1"/>
          </p:nvSpPr>
          <p:spPr>
            <a:xfrm>
              <a:off x="16241308" y="3368287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E0316009-5190-49B0-A0D0-78D25BFB4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62922" y="3641970"/>
              <a:ext cx="1619425" cy="5867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45781619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5D43AC25-5098-4456-9A78-DADF68794F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1.10.2020</a:t>
            </a:fld>
            <a:endParaRPr lang="de-DE" dirty="0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D9068C89-6EE1-4F5B-85D2-A2A0551AF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167D75CC-57B6-4692-A268-290C92303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F722746-3120-4F29-8033-77E7BAE3D7D1}"/>
              </a:ext>
            </a:extLst>
          </p:cNvPr>
          <p:cNvSpPr/>
          <p:nvPr userDrawn="1"/>
        </p:nvSpPr>
        <p:spPr>
          <a:xfrm>
            <a:off x="6137408" y="1952716"/>
            <a:ext cx="6053005" cy="4032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16" name="TitelPlaz">
            <a:extLst>
              <a:ext uri="{FF2B5EF4-FFF2-40B4-BE49-F238E27FC236}">
                <a16:creationId xmlns:a16="http://schemas.microsoft.com/office/drawing/2014/main" id="{2D0A877D-736C-4E76-8A5A-28835373AC4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452059" y="2492896"/>
            <a:ext cx="540060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27" name="Textplatzhalter 40">
            <a:extLst>
              <a:ext uri="{FF2B5EF4-FFF2-40B4-BE49-F238E27FC236}">
                <a16:creationId xmlns:a16="http://schemas.microsoft.com/office/drawing/2014/main" id="{2412CD1C-BA2D-444C-9518-577B328280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52059" y="5121188"/>
            <a:ext cx="543660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D92FEE40-9DB9-4788-AE44-77EF0640BB09}"/>
              </a:ext>
            </a:extLst>
          </p:cNvPr>
          <p:cNvGrpSpPr/>
          <p:nvPr/>
        </p:nvGrpSpPr>
        <p:grpSpPr>
          <a:xfrm>
            <a:off x="6137408" y="872716"/>
            <a:ext cx="6053006" cy="1080000"/>
            <a:chOff x="-6603520" y="864000"/>
            <a:chExt cx="6053006" cy="1080000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AE28190-98A1-443D-91E4-463CB82017CD}"/>
                </a:ext>
              </a:extLst>
            </p:cNvPr>
            <p:cNvSpPr/>
            <p:nvPr userDrawn="1"/>
          </p:nvSpPr>
          <p:spPr>
            <a:xfrm>
              <a:off x="-6603520" y="864000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3BF38654-5474-4AE0-BA60-5385CF18268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337644" y="1137683"/>
              <a:ext cx="1619425" cy="586722"/>
            </a:xfrm>
            <a:prstGeom prst="rect">
              <a:avLst/>
            </a:prstGeom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4290748298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5D43AC25-5098-4456-9A78-DADF68794F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1.10.2020</a:t>
            </a:fld>
            <a:endParaRPr lang="de-DE" dirty="0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D9068C89-6EE1-4F5B-85D2-A2A0551AF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167D75CC-57B6-4692-A268-290C92303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0E2C2AE-F308-46C8-AB79-EA1C246832AC}"/>
              </a:ext>
            </a:extLst>
          </p:cNvPr>
          <p:cNvSpPr/>
          <p:nvPr userDrawn="1"/>
        </p:nvSpPr>
        <p:spPr>
          <a:xfrm>
            <a:off x="6137408" y="800708"/>
            <a:ext cx="6053006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1AB5D0B5-97E4-40F7-A2BA-8720ECC36AD6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425629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 sz="3400" dirty="0"/>
              <a:t>Lorem Ipsum </a:t>
            </a:r>
            <a:r>
              <a:rPr lang="en-US" sz="3400" dirty="0" err="1"/>
              <a:t>dolormit</a:t>
            </a:r>
            <a:br>
              <a:rPr lang="en-US" sz="3400" dirty="0"/>
            </a:br>
            <a:r>
              <a:rPr lang="en-US" sz="3400" dirty="0" err="1"/>
              <a:t>amet</a:t>
            </a:r>
            <a:r>
              <a:rPr lang="en-US" sz="3400" dirty="0"/>
              <a:t> </a:t>
            </a:r>
            <a:r>
              <a:rPr lang="en-US" sz="3400" dirty="0" err="1"/>
              <a:t>avensis</a:t>
            </a:r>
            <a:r>
              <a:rPr lang="en-US" sz="3400" dirty="0"/>
              <a:t> </a:t>
            </a:r>
            <a:r>
              <a:rPr lang="en-US" sz="3400" dirty="0" err="1"/>
              <a:t>tusa</a:t>
            </a:r>
            <a:r>
              <a:rPr lang="en-US" sz="3400" dirty="0"/>
              <a:t>.</a:t>
            </a:r>
            <a:endParaRPr lang="de-DE" sz="3400" b="0" dirty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E1EE057E-0F56-4A3C-B3B0-A324D59CF0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25629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Ludwigshafen, 26.05.2017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A2D5B854-53AE-405D-AC76-0C84B4A8C5E7}"/>
              </a:ext>
            </a:extLst>
          </p:cNvPr>
          <p:cNvGrpSpPr/>
          <p:nvPr userDrawn="1"/>
        </p:nvGrpSpPr>
        <p:grpSpPr>
          <a:xfrm>
            <a:off x="6137408" y="4687321"/>
            <a:ext cx="6053006" cy="1080000"/>
            <a:chOff x="-6603520" y="864000"/>
            <a:chExt cx="6053006" cy="108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83FED4C5-08F7-42AF-A834-7967BBDF05DF}"/>
                </a:ext>
              </a:extLst>
            </p:cNvPr>
            <p:cNvSpPr/>
            <p:nvPr userDrawn="1"/>
          </p:nvSpPr>
          <p:spPr>
            <a:xfrm>
              <a:off x="-6603520" y="864000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0D2B42E6-F504-4F69-85BC-88F68A6310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337644" y="1137683"/>
              <a:ext cx="1619425" cy="586722"/>
            </a:xfrm>
            <a:prstGeom prst="rect">
              <a:avLst/>
            </a:prstGeom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4131014672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5D43AC25-5098-4456-9A78-DADF68794F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1.10.2020</a:t>
            </a:fld>
            <a:endParaRPr lang="de-DE" dirty="0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D9068C89-6EE1-4F5B-85D2-A2A0551AF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167D75CC-57B6-4692-A268-290C92303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5083425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ASF_Finale_V10_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AA48BB3E-A1F8-4F4B-BC11-253B6E01908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4256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A7AB4BA-4AC9-4D72-B335-5397816B20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5096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a de think-cell" r:id="rId5" imgW="276" imgH="275" progId="TCLayout.ActiveDocument.1">
                  <p:embed/>
                </p:oleObj>
              </mc:Choice>
              <mc:Fallback>
                <p:oleObj name="Diapositiva de think-cell" r:id="rId5" imgW="276" imgH="275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A7AB4BA-4AC9-4D72-B335-5397816B2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388AD88A-ADBF-40FD-9582-2F8FEBC40B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_tradnl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Titelmasterformat durch Klicken bearbeiten</a:t>
            </a:r>
            <a:endParaRPr lang="es-ES_tradnl" dirty="0"/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D0544E8-92CF-4700-9005-6784C36A1D25}" type="datetime1">
              <a:rPr lang="es-ES_tradnl" smtClean="0"/>
              <a:t>01/10/2020</a:t>
            </a:fld>
            <a:endParaRPr lang="es-ES_tradnl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s-ES_tradnl"/>
              <a:t>|  Optionale Zusatzinformationen</a:t>
            </a:r>
            <a:endParaRPr lang="es-ES_tradnl" dirty="0"/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es-ES_tradnl" smtClean="0"/>
              <a:pPr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8621327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1.10.2020</a:t>
            </a:fld>
            <a:endParaRPr lang="de-DE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963" marR="0" lvl="1" indent="-358775" algn="l" defTabSz="914400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1088" marR="0" lvl="2" indent="-365125" algn="l" defTabSz="914400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513" marR="0" lvl="3" indent="-358775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898869325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1.10.2020</a:t>
            </a:fld>
            <a:endParaRPr lang="de-DE" dirty="0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96929995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umsplatzhalter 5">
            <a:extLst>
              <a:ext uri="{FF2B5EF4-FFF2-40B4-BE49-F238E27FC236}">
                <a16:creationId xmlns:a16="http://schemas.microsoft.com/office/drawing/2014/main" id="{457E8414-A3A3-4057-B52F-0FE6DDA42E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1.10.2020</a:t>
            </a:fld>
            <a:endParaRPr lang="de-DE" dirty="0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946FEFC6-F26C-42DA-AB01-38B71E157D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3" name="Foliennummernplatzhalter 7">
            <a:extLst>
              <a:ext uri="{FF2B5EF4-FFF2-40B4-BE49-F238E27FC236}">
                <a16:creationId xmlns:a16="http://schemas.microsoft.com/office/drawing/2014/main" id="{421DC6A9-BF5F-490C-8A16-4896718030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8375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2" r:id="rId2"/>
    <p:sldLayoutId id="2147483723" r:id="rId3"/>
    <p:sldLayoutId id="2147483724" r:id="rId4"/>
    <p:sldLayoutId id="2147483725" r:id="rId5"/>
    <p:sldLayoutId id="2147483739" r:id="rId6"/>
    <p:sldLayoutId id="2147483740" r:id="rId7"/>
  </p:sldLayoutIdLst>
  <p:hf sldNum="0" hdr="0" ft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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 3" panose="05040102010807070707" pitchFamily="18" charset="2"/>
        <a:buChar char="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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2" userDrawn="1">
          <p15:clr>
            <a:srgbClr val="F26B43"/>
          </p15:clr>
        </p15:guide>
        <p15:guide id="2" pos="143" userDrawn="1">
          <p15:clr>
            <a:srgbClr val="F26B43"/>
          </p15:clr>
        </p15:guide>
        <p15:guide id="3" pos="7536" userDrawn="1">
          <p15:clr>
            <a:srgbClr val="F26B43"/>
          </p15:clr>
        </p15:guide>
        <p15:guide id="4" orient="horz" pos="3838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6" orient="horz" pos="417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D004A04-23FE-413A-B2B1-116905BFA3BE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3F96BAF2-2ACB-4182-8DBF-74DA4D08AE01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D8E7DFEB-4232-4129-A629-46EC9D8917C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667632A4-0760-4CBC-A3D4-1CFDE34409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1.10.2020</a:t>
            </a:fld>
            <a:endParaRPr lang="de-DE" dirty="0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65080E08-982A-4475-AFC5-517EA5E24B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 dirty="0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F36D1DEA-EB50-48AD-A5B7-6211AEB55C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69953FA8-7320-4389-8473-636297A22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6C25B751-D228-4E26-B9FE-4327002BE4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963" marR="0" lvl="1" indent="-358775" algn="l" defTabSz="914400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1088" marR="0" lvl="2" indent="-365125" algn="l" defTabSz="914400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513" marR="0" lvl="3" indent="-358775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013257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6" r:id="rId2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base" latinLnBrk="0" hangingPunct="1">
        <a:lnSpc>
          <a:spcPct val="110000"/>
        </a:lnSpc>
        <a:spcBef>
          <a:spcPts val="1800"/>
        </a:spcBef>
        <a:spcAft>
          <a:spcPct val="0"/>
        </a:spcAft>
        <a:buClr>
          <a:srgbClr val="65AC1E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5963" marR="0" indent="-358775" algn="l" defTabSz="914400" rtl="0" eaLnBrk="1" fontAlgn="base" latinLnBrk="0" hangingPunct="1">
        <a:lnSpc>
          <a:spcPct val="110000"/>
        </a:lnSpc>
        <a:spcBef>
          <a:spcPts val="600"/>
        </a:spcBef>
        <a:spcAft>
          <a:spcPct val="0"/>
        </a:spcAft>
        <a:buClr>
          <a:srgbClr val="65AC1E"/>
        </a:buClr>
        <a:buSzPct val="90000"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81088" marR="0" indent="-365125" algn="l" defTabSz="914400" rtl="0" eaLnBrk="1" fontAlgn="base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65AC1E"/>
        </a:buClr>
        <a:buSzPct val="95000"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3513" marR="0" indent="-358775" algn="l" defTabSz="914400" rtl="0" eaLnBrk="1" fontAlgn="base" latinLnBrk="0" hangingPunct="1">
        <a:lnSpc>
          <a:spcPct val="110000"/>
        </a:lnSpc>
        <a:spcBef>
          <a:spcPct val="0"/>
        </a:spcBef>
        <a:spcAft>
          <a:spcPct val="0"/>
        </a:spcAft>
        <a:buClr>
          <a:srgbClr val="65AC1E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36" userDrawn="1">
          <p15:clr>
            <a:srgbClr val="F26B43"/>
          </p15:clr>
        </p15:guide>
        <p15:guide id="7" orient="horz" pos="4183">
          <p15:clr>
            <a:srgbClr val="F26B43"/>
          </p15:clr>
        </p15:guide>
        <p15:guide id="8" orient="horz" pos="4047">
          <p15:clr>
            <a:srgbClr val="F26B43"/>
          </p15:clr>
        </p15:guide>
        <p15:guide id="9" orient="horz" pos="1275" userDrawn="1">
          <p15:clr>
            <a:srgbClr val="F26B43"/>
          </p15:clr>
        </p15:guide>
        <p15:guide id="10" pos="143" userDrawn="1">
          <p15:clr>
            <a:srgbClr val="F26B43"/>
          </p15:clr>
        </p15:guide>
        <p15:guide id="11" orient="horz" pos="383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68641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1.png"/><Relationship Id="rId4" Type="http://schemas.openxmlformats.org/officeDocument/2006/relationships/image" Target="../media/image5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File:Black_Swans.jpg" TargetMode="External"/><Relationship Id="rId7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hyperlink" Target="https://pxhere.com/en/photo/64219" TargetMode="External"/><Relationship Id="rId4" Type="http://schemas.openxmlformats.org/officeDocument/2006/relationships/image" Target="../media/image8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0.emf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8.jpeg"/><Relationship Id="rId18" Type="http://schemas.openxmlformats.org/officeDocument/2006/relationships/image" Target="../media/image21.jpeg"/><Relationship Id="rId3" Type="http://schemas.openxmlformats.org/officeDocument/2006/relationships/slideLayout" Target="../slideLayouts/slideLayout9.xml"/><Relationship Id="rId21" Type="http://schemas.openxmlformats.org/officeDocument/2006/relationships/image" Target="../media/image6.png"/><Relationship Id="rId7" Type="http://schemas.openxmlformats.org/officeDocument/2006/relationships/image" Target="../media/image12.jpeg"/><Relationship Id="rId12" Type="http://schemas.openxmlformats.org/officeDocument/2006/relationships/image" Target="../media/image17.jpeg"/><Relationship Id="rId17" Type="http://schemas.openxmlformats.org/officeDocument/2006/relationships/image" Target="../media/image20.jpeg"/><Relationship Id="rId2" Type="http://schemas.openxmlformats.org/officeDocument/2006/relationships/tags" Target="../tags/tag14.xml"/><Relationship Id="rId16" Type="http://schemas.microsoft.com/office/2007/relationships/hdphoto" Target="../media/hdphoto2.wdp"/><Relationship Id="rId20" Type="http://schemas.openxmlformats.org/officeDocument/2006/relationships/image" Target="../media/image23.jpe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11" Type="http://schemas.openxmlformats.org/officeDocument/2006/relationships/image" Target="../media/image16.jpe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19.jpeg"/><Relationship Id="rId10" Type="http://schemas.openxmlformats.org/officeDocument/2006/relationships/image" Target="../media/image15.jpeg"/><Relationship Id="rId19" Type="http://schemas.openxmlformats.org/officeDocument/2006/relationships/image" Target="../media/image22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4.jpeg"/><Relationship Id="rId1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asf.com/global/en/who-we-are/sustainability/management-goals-and-dialog/networks/global-compact/goals.htmle" TargetMode="External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.png"/><Relationship Id="rId4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13" Type="http://schemas.openxmlformats.org/officeDocument/2006/relationships/chart" Target="../charts/chart1.xml"/><Relationship Id="rId18" Type="http://schemas.openxmlformats.org/officeDocument/2006/relationships/image" Target="../media/image35.jpg"/><Relationship Id="rId3" Type="http://schemas.openxmlformats.org/officeDocument/2006/relationships/tags" Target="../tags/tag16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30.svg"/><Relationship Id="rId17" Type="http://schemas.openxmlformats.org/officeDocument/2006/relationships/image" Target="../media/image34.jpg"/><Relationship Id="rId2" Type="http://schemas.openxmlformats.org/officeDocument/2006/relationships/tags" Target="../tags/tag15.xml"/><Relationship Id="rId16" Type="http://schemas.openxmlformats.org/officeDocument/2006/relationships/image" Target="../media/image33.jpg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29.png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32.svg"/><Relationship Id="rId10" Type="http://schemas.openxmlformats.org/officeDocument/2006/relationships/image" Target="../media/image28.svg"/><Relationship Id="rId19" Type="http://schemas.openxmlformats.org/officeDocument/2006/relationships/image" Target="../media/image6.png"/><Relationship Id="rId4" Type="http://schemas.openxmlformats.org/officeDocument/2006/relationships/tags" Target="../tags/tag17.xml"/><Relationship Id="rId9" Type="http://schemas.openxmlformats.org/officeDocument/2006/relationships/image" Target="../media/image27.png"/><Relationship Id="rId1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tags" Target="../tags/tag19.xml"/><Relationship Id="rId7" Type="http://schemas.openxmlformats.org/officeDocument/2006/relationships/oleObject" Target="../embeddings/oleObject6.bin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8.jpe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 descr="Imagen que contiene persona, azul, hombre, cuarto de hospital&#10;&#10;Descripción generada automáticamente">
            <a:extLst>
              <a:ext uri="{FF2B5EF4-FFF2-40B4-BE49-F238E27FC236}">
                <a16:creationId xmlns:a16="http://schemas.microsoft.com/office/drawing/2014/main" id="{93D000EB-BF82-499F-A0C8-61A24763BB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7804" cy="6858000"/>
          </a:xfrm>
          <a:prstGeom prst="rect">
            <a:avLst/>
          </a:prstGeom>
        </p:spPr>
      </p:pic>
      <p:grpSp>
        <p:nvGrpSpPr>
          <p:cNvPr id="18" name="Grupo 17">
            <a:extLst>
              <a:ext uri="{FF2B5EF4-FFF2-40B4-BE49-F238E27FC236}">
                <a16:creationId xmlns:a16="http://schemas.microsoft.com/office/drawing/2014/main" id="{A8F706A4-23E8-4F8E-9948-7C1AA4C8CED9}"/>
              </a:ext>
            </a:extLst>
          </p:cNvPr>
          <p:cNvGrpSpPr/>
          <p:nvPr/>
        </p:nvGrpSpPr>
        <p:grpSpPr>
          <a:xfrm>
            <a:off x="4799613" y="3847599"/>
            <a:ext cx="13917600" cy="3010401"/>
            <a:chOff x="4788640" y="2159999"/>
            <a:chExt cx="13917600" cy="3010401"/>
          </a:xfrm>
        </p:grpSpPr>
        <p:sp>
          <p:nvSpPr>
            <p:cNvPr id="8" name="Rechteck 21">
              <a:extLst>
                <a:ext uri="{FF2B5EF4-FFF2-40B4-BE49-F238E27FC236}">
                  <a16:creationId xmlns:a16="http://schemas.microsoft.com/office/drawing/2014/main" id="{D0598964-BAC3-439F-A787-074A64811A5A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4788640" y="3240000"/>
              <a:ext cx="13917600" cy="19304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grpSp>
          <p:nvGrpSpPr>
            <p:cNvPr id="15" name="Grupo 14">
              <a:extLst>
                <a:ext uri="{FF2B5EF4-FFF2-40B4-BE49-F238E27FC236}">
                  <a16:creationId xmlns:a16="http://schemas.microsoft.com/office/drawing/2014/main" id="{2F4A0EF5-4641-47C4-B512-80E653665AC6}"/>
                </a:ext>
              </a:extLst>
            </p:cNvPr>
            <p:cNvGrpSpPr/>
            <p:nvPr/>
          </p:nvGrpSpPr>
          <p:grpSpPr>
            <a:xfrm>
              <a:off x="4788640" y="2159999"/>
              <a:ext cx="13917600" cy="2794386"/>
              <a:chOff x="4788640" y="4591282"/>
              <a:chExt cx="13917600" cy="2037564"/>
            </a:xfrm>
          </p:grpSpPr>
          <p:grpSp>
            <p:nvGrpSpPr>
              <p:cNvPr id="9" name="Gruppieren 24">
                <a:extLst>
                  <a:ext uri="{FF2B5EF4-FFF2-40B4-BE49-F238E27FC236}">
                    <a16:creationId xmlns:a16="http://schemas.microsoft.com/office/drawing/2014/main" id="{8EB80031-677B-4F58-9E21-151C6A756131}"/>
                  </a:ext>
                </a:extLst>
              </p:cNvPr>
              <p:cNvGrpSpPr/>
              <p:nvPr/>
            </p:nvGrpSpPr>
            <p:grpSpPr>
              <a:xfrm>
                <a:off x="4788640" y="4591282"/>
                <a:ext cx="13917600" cy="787497"/>
                <a:chOff x="-6603522" y="864000"/>
                <a:chExt cx="13917600" cy="787497"/>
              </a:xfrm>
            </p:grpSpPr>
            <p:sp>
              <p:nvSpPr>
                <p:cNvPr id="10" name="Rechteck 25">
                  <a:extLst>
                    <a:ext uri="{FF2B5EF4-FFF2-40B4-BE49-F238E27FC236}">
                      <a16:creationId xmlns:a16="http://schemas.microsoft.com/office/drawing/2014/main" id="{F2628611-4AC6-49A6-9AB2-4DB65EDDFAB3}"/>
                    </a:ext>
                  </a:extLst>
                </p:cNvPr>
                <p:cNvSpPr>
                  <a:spLocks noChangeAspect="1"/>
                </p:cNvSpPr>
                <p:nvPr userDrawn="1"/>
              </p:nvSpPr>
              <p:spPr>
                <a:xfrm>
                  <a:off x="-6603522" y="864000"/>
                  <a:ext cx="13917600" cy="78749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"/>
                </a:p>
              </p:txBody>
            </p:sp>
            <p:pic>
              <p:nvPicPr>
                <p:cNvPr id="11" name="Grafik 26">
                  <a:extLst>
                    <a:ext uri="{FF2B5EF4-FFF2-40B4-BE49-F238E27FC236}">
                      <a16:creationId xmlns:a16="http://schemas.microsoft.com/office/drawing/2014/main" id="{50856ED4-3172-49EC-8FF9-141D8134585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424653" y="1052999"/>
                  <a:ext cx="1619425" cy="427873"/>
                </a:xfrm>
                <a:prstGeom prst="rect">
                  <a:avLst/>
                </a:prstGeom>
              </p:spPr>
            </p:pic>
            <p:pic>
              <p:nvPicPr>
                <p:cNvPr id="12" name="Grafik 28">
                  <a:extLst>
                    <a:ext uri="{FF2B5EF4-FFF2-40B4-BE49-F238E27FC236}">
                      <a16:creationId xmlns:a16="http://schemas.microsoft.com/office/drawing/2014/main" id="{D2DC00BB-0D22-40A4-809B-A4B1BD1C8DF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6333521" y="1052999"/>
                  <a:ext cx="1619425" cy="427873"/>
                </a:xfrm>
                <a:prstGeom prst="rect">
                  <a:avLst/>
                </a:prstGeom>
              </p:spPr>
            </p:pic>
          </p:grpSp>
          <p:sp>
            <p:nvSpPr>
              <p:cNvPr id="14" name="Titel 1">
                <a:extLst>
                  <a:ext uri="{FF2B5EF4-FFF2-40B4-BE49-F238E27FC236}">
                    <a16:creationId xmlns:a16="http://schemas.microsoft.com/office/drawing/2014/main" id="{134C4CA8-AD67-4245-96F1-F60209381592}"/>
                  </a:ext>
                </a:extLst>
              </p:cNvPr>
              <p:cNvSpPr txBox="1">
                <a:spLocks/>
              </p:cNvSpPr>
              <p:nvPr>
                <p:custDataLst>
                  <p:tags r:id="rId2"/>
                </p:custDataLst>
              </p:nvPr>
            </p:nvSpPr>
            <p:spPr>
              <a:xfrm>
                <a:off x="5004640" y="5536278"/>
                <a:ext cx="6753772" cy="1092568"/>
              </a:xfrm>
              <a:prstGeom prst="rect">
                <a:avLst/>
              </a:prstGeom>
            </p:spPr>
            <p:txBody>
              <a:bodyPr lIns="0" tIns="0" rIns="0" bIns="0" anchor="t">
                <a:normAutofit fontScale="85000" lnSpcReduction="20000"/>
              </a:bodyPr>
              <a:lstStyle>
                <a:lvl1pPr algn="l" defTabSz="914400" rtl="0" eaLnBrk="1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defRPr sz="3200" b="1" i="0" kern="1200">
                    <a:solidFill>
                      <a:schemeClr val="accent1"/>
                    </a:solidFill>
                    <a:latin typeface="Arial"/>
                    <a:ea typeface="+mj-ea"/>
                    <a:cs typeface="+mj-cs"/>
                  </a:defRPr>
                </a:lvl1pPr>
              </a:lstStyle>
              <a:p>
                <a:pPr>
                  <a:lnSpc>
                    <a:spcPct val="100000"/>
                  </a:lnSpc>
                  <a:spcBef>
                    <a:spcPts val="600"/>
                  </a:spcBef>
                </a:pPr>
                <a:r>
                  <a:rPr lang="es-ES" sz="2800" dirty="0"/>
                  <a:t>INNOVACIÓN QUÍMICA PARA LOS ODS 2030</a:t>
                </a:r>
              </a:p>
              <a:p>
                <a:pPr>
                  <a:lnSpc>
                    <a:spcPct val="100000"/>
                  </a:lnSpc>
                  <a:spcBef>
                    <a:spcPts val="600"/>
                  </a:spcBef>
                </a:pPr>
                <a:r>
                  <a:rPr lang="es-ES" sz="2000" dirty="0"/>
                  <a:t>Asamblea SusChem 2020</a:t>
                </a:r>
              </a:p>
              <a:p>
                <a:pPr>
                  <a:lnSpc>
                    <a:spcPct val="100000"/>
                  </a:lnSpc>
                  <a:spcBef>
                    <a:spcPts val="600"/>
                  </a:spcBef>
                </a:pPr>
                <a:endParaRPr lang="es-ES" sz="1900" dirty="0"/>
              </a:p>
              <a:p>
                <a:pPr algn="r">
                  <a:lnSpc>
                    <a:spcPct val="100000"/>
                  </a:lnSpc>
                  <a:spcBef>
                    <a:spcPts val="600"/>
                  </a:spcBef>
                </a:pPr>
                <a:endParaRPr lang="es-ES" sz="2000" dirty="0"/>
              </a:p>
              <a:p>
                <a:pPr algn="r">
                  <a:lnSpc>
                    <a:spcPct val="100000"/>
                  </a:lnSpc>
                  <a:spcBef>
                    <a:spcPts val="600"/>
                  </a:spcBef>
                </a:pPr>
                <a:r>
                  <a:rPr lang="es-ES" sz="2000" dirty="0"/>
                  <a:t>Iván Albertos – Octubre 2020</a:t>
                </a:r>
              </a:p>
            </p:txBody>
          </p:sp>
        </p:grpSp>
      </p:grpSp>
      <p:pic>
        <p:nvPicPr>
          <p:cNvPr id="19" name="Picture 4" descr="Resultado de imagen para ods">
            <a:extLst>
              <a:ext uri="{FF2B5EF4-FFF2-40B4-BE49-F238E27FC236}">
                <a16:creationId xmlns:a16="http://schemas.microsoft.com/office/drawing/2014/main" id="{2F7CCF2F-0B24-4121-9294-D70FC94889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593" y="301450"/>
            <a:ext cx="592853" cy="592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0539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964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magine 11" descr="Immagine che contiene acqua, uccello, esterni, nuotando&#10;&#10;Descrizione generata automaticamente">
            <a:extLst>
              <a:ext uri="{FF2B5EF4-FFF2-40B4-BE49-F238E27FC236}">
                <a16:creationId xmlns:a16="http://schemas.microsoft.com/office/drawing/2014/main" id="{0302A338-5148-4676-AC6C-E2877155FD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-1046675" y="6401"/>
            <a:ext cx="7326532" cy="6919267"/>
          </a:xfrm>
          <a:prstGeom prst="rect">
            <a:avLst/>
          </a:prstGeom>
        </p:spPr>
      </p:pic>
      <p:pic>
        <p:nvPicPr>
          <p:cNvPr id="26" name="Immagine 25" descr="Immagine che contiene acqua, facendosurf, oceano, esterni&#10;&#10;Descrizione generata automaticamente">
            <a:extLst>
              <a:ext uri="{FF2B5EF4-FFF2-40B4-BE49-F238E27FC236}">
                <a16:creationId xmlns:a16="http://schemas.microsoft.com/office/drawing/2014/main" id="{D1254516-68AD-4FDA-89F6-77CF87CCA1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6279857" y="6401"/>
            <a:ext cx="7347097" cy="6919267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BDFDB365-4AAC-4DF3-8418-C0AEC46E5C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52328" y="1551900"/>
            <a:ext cx="4993584" cy="853089"/>
          </a:xfrm>
        </p:spPr>
        <p:txBody>
          <a:bodyPr/>
          <a:lstStyle/>
          <a:p>
            <a:r>
              <a:rPr lang="it-IT" sz="3200" dirty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ay asuntos relevantes que continuan en la «nueva normalidad»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1C114A7-EDE1-4887-BE98-91C895BC891D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88217" y="6515598"/>
            <a:ext cx="467878" cy="15118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218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4" algn="l" defTabSz="9143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9" algn="l" defTabSz="9143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63" algn="l" defTabSz="9143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17" algn="l" defTabSz="9143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71" algn="l" defTabSz="9143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26" algn="l" defTabSz="9143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80" algn="l" defTabSz="9143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34" algn="l" defTabSz="9143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68FC967-E25B-4DC7-87C0-1C454DF70C3D}" type="datetime1">
              <a:rPr lang="de-DE">
                <a:solidFill>
                  <a:srgbClr val="000000"/>
                </a:solidFill>
                <a:latin typeface="Arial" panose="020B0604020202020204"/>
                <a:cs typeface="Arial"/>
              </a:rPr>
              <a:pPr>
                <a:defRPr/>
              </a:pPr>
              <a:t>01.10.2020</a:t>
            </a:fld>
            <a:endParaRPr lang="de-DE" dirty="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FC3EF4DF-6D69-41B0-B07C-88D7D175D4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7537" y="6515598"/>
            <a:ext cx="359906" cy="15118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marL="0" algn="l" defTabSz="914218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4" algn="l" defTabSz="9143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9" algn="l" defTabSz="9143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63" algn="l" defTabSz="9143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17" algn="l" defTabSz="9143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71" algn="l" defTabSz="9143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26" algn="l" defTabSz="9143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80" algn="l" defTabSz="9143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34" algn="l" defTabSz="91430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7C0CCF7-DF53-4ADB-AAD8-9742C01AD446}" type="slidenum">
              <a:rPr lang="de-DE">
                <a:solidFill>
                  <a:srgbClr val="000000"/>
                </a:solidFill>
                <a:latin typeface="Arial" panose="020B0604020202020204"/>
                <a:cs typeface="Arial"/>
              </a:rPr>
              <a:pPr>
                <a:defRPr/>
              </a:pPr>
              <a:t>2</a:t>
            </a:fld>
            <a:endParaRPr lang="de-DE" dirty="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sp>
        <p:nvSpPr>
          <p:cNvPr id="8" name="Segnaposto testo 2">
            <a:extLst>
              <a:ext uri="{FF2B5EF4-FFF2-40B4-BE49-F238E27FC236}">
                <a16:creationId xmlns:a16="http://schemas.microsoft.com/office/drawing/2014/main" id="{76D402C0-7C6E-42F0-9C06-071D75A7709F}"/>
              </a:ext>
            </a:extLst>
          </p:cNvPr>
          <p:cNvSpPr txBox="1">
            <a:spLocks/>
          </p:cNvSpPr>
          <p:nvPr/>
        </p:nvSpPr>
        <p:spPr>
          <a:xfrm>
            <a:off x="390657" y="4722312"/>
            <a:ext cx="6024200" cy="1502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it-IT" sz="3200" b="1" dirty="0">
                <a:solidFill>
                  <a:schemeClr val="bg2"/>
                </a:solidFill>
              </a:rPr>
              <a:t>Cisne negro: COVID-19, desaceleración económica,  continudad de los negocios, etc.</a:t>
            </a:r>
          </a:p>
          <a:p>
            <a:endParaRPr lang="it-IT" sz="2800" dirty="0">
              <a:solidFill>
                <a:schemeClr val="accent1"/>
              </a:solidFill>
            </a:endParaRPr>
          </a:p>
          <a:p>
            <a:endParaRPr lang="it-IT" sz="2800" dirty="0">
              <a:solidFill>
                <a:schemeClr val="accent1"/>
              </a:solidFill>
            </a:endParaRPr>
          </a:p>
          <a:p>
            <a:endParaRPr lang="it-IT" sz="2800" dirty="0">
              <a:solidFill>
                <a:schemeClr val="accent1"/>
              </a:solidFill>
            </a:endParaRPr>
          </a:p>
        </p:txBody>
      </p:sp>
      <p:grpSp>
        <p:nvGrpSpPr>
          <p:cNvPr id="30" name="Gruppieren 8">
            <a:extLst>
              <a:ext uri="{FF2B5EF4-FFF2-40B4-BE49-F238E27FC236}">
                <a16:creationId xmlns:a16="http://schemas.microsoft.com/office/drawing/2014/main" id="{31E7A0B2-3EE0-4306-A596-D7A48C5C34D7}"/>
              </a:ext>
            </a:extLst>
          </p:cNvPr>
          <p:cNvGrpSpPr/>
          <p:nvPr/>
        </p:nvGrpSpPr>
        <p:grpSpPr>
          <a:xfrm>
            <a:off x="9598750" y="6091270"/>
            <a:ext cx="2591663" cy="539930"/>
            <a:chOff x="8529177" y="6132592"/>
            <a:chExt cx="2592000" cy="540000"/>
          </a:xfrm>
        </p:grpSpPr>
        <p:sp>
          <p:nvSpPr>
            <p:cNvPr id="31" name="Rechteck 9">
              <a:extLst>
                <a:ext uri="{FF2B5EF4-FFF2-40B4-BE49-F238E27FC236}">
                  <a16:creationId xmlns:a16="http://schemas.microsoft.com/office/drawing/2014/main" id="{26D28200-3D9A-4E83-95AC-0B3D4BFC4678}"/>
                </a:ext>
              </a:extLst>
            </p:cNvPr>
            <p:cNvSpPr/>
            <p:nvPr userDrawn="1"/>
          </p:nvSpPr>
          <p:spPr>
            <a:xfrm>
              <a:off x="8529177" y="6132592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2" name="Grafik 11">
              <a:extLst>
                <a:ext uri="{FF2B5EF4-FFF2-40B4-BE49-F238E27FC236}">
                  <a16:creationId xmlns:a16="http://schemas.microsoft.com/office/drawing/2014/main" id="{02FAA7CF-51CE-41FE-9B1C-E405A6D378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64195" y="6265809"/>
              <a:ext cx="808391" cy="292882"/>
            </a:xfrm>
            <a:prstGeom prst="rect">
              <a:avLst/>
            </a:prstGeom>
          </p:spPr>
        </p:pic>
      </p:grpSp>
      <p:pic>
        <p:nvPicPr>
          <p:cNvPr id="11" name="Picture 4" descr="Resultado de imagen para ods">
            <a:extLst>
              <a:ext uri="{FF2B5EF4-FFF2-40B4-BE49-F238E27FC236}">
                <a16:creationId xmlns:a16="http://schemas.microsoft.com/office/drawing/2014/main" id="{088A97DF-B68D-4346-AF10-56F5B77F7F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593" y="301450"/>
            <a:ext cx="592853" cy="592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42427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605" name="Rectangle 4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3801" y="447"/>
          <a:ext cx="158729" cy="1587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5" imgW="0" imgH="0" progId="TCLayout.ActiveDocument.1">
                  <p:embed/>
                </p:oleObj>
              </mc:Choice>
              <mc:Fallback>
                <p:oleObj name="think-cell Folie" r:id="rId5" imgW="0" imgH="0" progId="TCLayout.ActiveDocument.1">
                  <p:embed/>
                  <p:pic>
                    <p:nvPicPr>
                      <p:cNvPr id="66605" name="Rectangle 4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3801" y="447"/>
                        <a:ext cx="158729" cy="15872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el 4">
            <a:extLst>
              <a:ext uri="{FF2B5EF4-FFF2-40B4-BE49-F238E27FC236}">
                <a16:creationId xmlns:a16="http://schemas.microsoft.com/office/drawing/2014/main" id="{FD371D21-ADEE-410F-9A20-77DFAF30782E}"/>
              </a:ext>
            </a:extLst>
          </p:cNvPr>
          <p:cNvSpPr txBox="1">
            <a:spLocks/>
          </p:cNvSpPr>
          <p:nvPr/>
        </p:nvSpPr>
        <p:spPr>
          <a:xfrm>
            <a:off x="6964033" y="3963091"/>
            <a:ext cx="5010443" cy="5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2800" b="1" i="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de-DE" dirty="0">
                <a:solidFill>
                  <a:schemeClr val="bg1"/>
                </a:solidFill>
              </a:rPr>
              <a:t>Definition</a:t>
            </a:r>
          </a:p>
          <a:p>
            <a:pPr algn="r"/>
            <a:r>
              <a:rPr lang="de-DE" b="0" dirty="0">
                <a:solidFill>
                  <a:schemeClr val="bg1"/>
                </a:solidFill>
              </a:rPr>
              <a:t>Business </a:t>
            </a:r>
            <a:r>
              <a:rPr lang="de-DE" b="0" dirty="0" err="1">
                <a:solidFill>
                  <a:schemeClr val="bg1"/>
                </a:solidFill>
              </a:rPr>
              <a:t>success</a:t>
            </a:r>
            <a:r>
              <a:rPr lang="de-DE" b="0" dirty="0">
                <a:solidFill>
                  <a:schemeClr val="bg1"/>
                </a:solidFill>
              </a:rPr>
              <a:t> </a:t>
            </a:r>
            <a:r>
              <a:rPr lang="de-DE" b="0" dirty="0" err="1">
                <a:solidFill>
                  <a:schemeClr val="bg1"/>
                </a:solidFill>
              </a:rPr>
              <a:t>tomorrow</a:t>
            </a:r>
            <a:r>
              <a:rPr lang="de-DE" b="0" dirty="0">
                <a:solidFill>
                  <a:schemeClr val="bg1"/>
                </a:solidFill>
              </a:rPr>
              <a:t> </a:t>
            </a:r>
          </a:p>
          <a:p>
            <a:pPr algn="r"/>
            <a:r>
              <a:rPr lang="de-DE" b="0" dirty="0" err="1">
                <a:solidFill>
                  <a:schemeClr val="bg1"/>
                </a:solidFill>
              </a:rPr>
              <a:t>means</a:t>
            </a:r>
            <a:r>
              <a:rPr lang="de-DE" b="0" dirty="0">
                <a:solidFill>
                  <a:schemeClr val="bg1"/>
                </a:solidFill>
              </a:rPr>
              <a:t> </a:t>
            </a:r>
            <a:r>
              <a:rPr lang="de-DE" b="0" dirty="0" err="1">
                <a:solidFill>
                  <a:schemeClr val="bg1"/>
                </a:solidFill>
              </a:rPr>
              <a:t>creating</a:t>
            </a:r>
            <a:r>
              <a:rPr lang="de-DE" b="0" dirty="0">
                <a:solidFill>
                  <a:schemeClr val="bg1"/>
                </a:solidFill>
              </a:rPr>
              <a:t> </a:t>
            </a:r>
            <a:r>
              <a:rPr lang="de-DE" b="0" dirty="0" err="1">
                <a:solidFill>
                  <a:schemeClr val="bg1"/>
                </a:solidFill>
              </a:rPr>
              <a:t>value</a:t>
            </a:r>
            <a:r>
              <a:rPr lang="de-DE" b="0" dirty="0">
                <a:solidFill>
                  <a:schemeClr val="bg1"/>
                </a:solidFill>
              </a:rPr>
              <a:t> </a:t>
            </a:r>
            <a:r>
              <a:rPr lang="de-DE" b="0" dirty="0" err="1">
                <a:solidFill>
                  <a:schemeClr val="bg1"/>
                </a:solidFill>
              </a:rPr>
              <a:t>for</a:t>
            </a:r>
            <a:r>
              <a:rPr lang="de-DE" b="0" dirty="0">
                <a:solidFill>
                  <a:schemeClr val="bg1"/>
                </a:solidFill>
              </a:rPr>
              <a:t> </a:t>
            </a:r>
            <a:r>
              <a:rPr lang="de-DE" b="0" dirty="0" err="1">
                <a:solidFill>
                  <a:schemeClr val="bg1"/>
                </a:solidFill>
              </a:rPr>
              <a:t>the</a:t>
            </a:r>
            <a:r>
              <a:rPr lang="de-DE" b="0" dirty="0">
                <a:solidFill>
                  <a:schemeClr val="bg1"/>
                </a:solidFill>
              </a:rPr>
              <a:t> </a:t>
            </a:r>
          </a:p>
          <a:p>
            <a:pPr algn="r"/>
            <a:r>
              <a:rPr lang="de-DE" b="0" dirty="0" err="1">
                <a:solidFill>
                  <a:schemeClr val="bg1"/>
                </a:solidFill>
              </a:rPr>
              <a:t>environment</a:t>
            </a:r>
            <a:r>
              <a:rPr lang="de-DE" b="0" dirty="0">
                <a:solidFill>
                  <a:schemeClr val="bg1"/>
                </a:solidFill>
              </a:rPr>
              <a:t>, </a:t>
            </a:r>
            <a:r>
              <a:rPr lang="de-DE" b="0" dirty="0" err="1">
                <a:solidFill>
                  <a:schemeClr val="bg1"/>
                </a:solidFill>
              </a:rPr>
              <a:t>society</a:t>
            </a:r>
            <a:r>
              <a:rPr lang="de-DE" b="0" dirty="0">
                <a:solidFill>
                  <a:schemeClr val="bg1"/>
                </a:solidFill>
              </a:rPr>
              <a:t> and </a:t>
            </a:r>
            <a:r>
              <a:rPr lang="de-DE" b="0" dirty="0" err="1">
                <a:solidFill>
                  <a:schemeClr val="bg1"/>
                </a:solidFill>
              </a:rPr>
              <a:t>business</a:t>
            </a:r>
            <a:endParaRPr lang="de-DE" b="0" dirty="0">
              <a:solidFill>
                <a:schemeClr val="bg1"/>
              </a:solidFill>
            </a:endParaRPr>
          </a:p>
        </p:txBody>
      </p:sp>
      <p:sp>
        <p:nvSpPr>
          <p:cNvPr id="25" name="Titel 4">
            <a:extLst>
              <a:ext uri="{FF2B5EF4-FFF2-40B4-BE49-F238E27FC236}">
                <a16:creationId xmlns:a16="http://schemas.microsoft.com/office/drawing/2014/main" id="{27C59AD1-F473-409F-801E-1D7FB21F1120}"/>
              </a:ext>
            </a:extLst>
          </p:cNvPr>
          <p:cNvSpPr txBox="1">
            <a:spLocks/>
          </p:cNvSpPr>
          <p:nvPr/>
        </p:nvSpPr>
        <p:spPr>
          <a:xfrm>
            <a:off x="513953" y="-2037101"/>
            <a:ext cx="4412699" cy="5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2800" b="1" i="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endParaRPr lang="de-DE" sz="2000" b="0" dirty="0">
              <a:solidFill>
                <a:schemeClr val="bg1"/>
              </a:solidFill>
            </a:endParaRPr>
          </a:p>
        </p:txBody>
      </p:sp>
      <p:sp>
        <p:nvSpPr>
          <p:cNvPr id="8" name="MSIPCM955142e4a4fc4186f8505a7a" descr="{&quot;HashCode&quot;:-1427462261,&quot;Placement&quot;:&quot;Footer&quot;,&quot;Top&quot;:520.3781,&quot;Left&quot;:425.591248,&quot;SlideWidth&quot;:959,&quot;SlideHeight&quot;:540}">
            <a:extLst>
              <a:ext uri="{FF2B5EF4-FFF2-40B4-BE49-F238E27FC236}">
                <a16:creationId xmlns:a16="http://schemas.microsoft.com/office/drawing/2014/main" id="{1D3598CC-2E05-49A7-937E-C89E6E3592DB}"/>
              </a:ext>
            </a:extLst>
          </p:cNvPr>
          <p:cNvSpPr txBox="1"/>
          <p:nvPr/>
        </p:nvSpPr>
        <p:spPr>
          <a:xfrm>
            <a:off x="5405100" y="6656037"/>
            <a:ext cx="1380215" cy="15386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/>
            <a:r>
              <a:rPr lang="en-US" sz="1000" dirty="0">
                <a:solidFill>
                  <a:srgbClr val="A80000"/>
                </a:solidFill>
                <a:latin typeface="Arial" panose="020B0604020202020204" pitchFamily="34" charset="0"/>
              </a:rPr>
              <a:t>Strictly Confidential</a:t>
            </a:r>
          </a:p>
        </p:txBody>
      </p:sp>
      <p:pic>
        <p:nvPicPr>
          <p:cNvPr id="9" name="Bild 1">
            <a:extLst>
              <a:ext uri="{FF2B5EF4-FFF2-40B4-BE49-F238E27FC236}">
                <a16:creationId xmlns:a16="http://schemas.microsoft.com/office/drawing/2014/main" id="{E1D60B8E-38C5-4C5A-9E58-97AE8AD284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45" y="0"/>
            <a:ext cx="12206113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4">
            <a:extLst>
              <a:ext uri="{FF2B5EF4-FFF2-40B4-BE49-F238E27FC236}">
                <a16:creationId xmlns:a16="http://schemas.microsoft.com/office/drawing/2014/main" id="{EFD046B7-5F58-4220-807F-044D709F382B}"/>
              </a:ext>
            </a:extLst>
          </p:cNvPr>
          <p:cNvSpPr txBox="1">
            <a:spLocks/>
          </p:cNvSpPr>
          <p:nvPr/>
        </p:nvSpPr>
        <p:spPr>
          <a:xfrm>
            <a:off x="6964033" y="3963091"/>
            <a:ext cx="5010443" cy="5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2800" b="1" i="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algn="r"/>
            <a:endParaRPr lang="de-DE" b="0" dirty="0">
              <a:solidFill>
                <a:schemeClr val="bg1"/>
              </a:solidFill>
            </a:endParaRPr>
          </a:p>
          <a:p>
            <a:pPr algn="r"/>
            <a:r>
              <a:rPr lang="de-DE" b="0" dirty="0">
                <a:solidFill>
                  <a:schemeClr val="bg1"/>
                </a:solidFill>
              </a:rPr>
              <a:t>El éxito empresarial del mañana significa crear valor para el medio ambiente, la sociedad y los negocios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DE757C8E-3C7E-1B41-B807-1A37A431FD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bg1"/>
                </a:solidFill>
              </a:rPr>
              <a:t>Nuestro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propósito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sz="2200" b="0" dirty="0" err="1">
                <a:solidFill>
                  <a:schemeClr val="bg1"/>
                </a:solidFill>
              </a:rPr>
              <a:t>Creamos</a:t>
            </a:r>
            <a:r>
              <a:rPr lang="en-US" sz="2200" b="0" dirty="0">
                <a:solidFill>
                  <a:schemeClr val="bg1"/>
                </a:solidFill>
              </a:rPr>
              <a:t> </a:t>
            </a:r>
            <a:r>
              <a:rPr lang="en-US" sz="2200" b="0" dirty="0" err="1">
                <a:solidFill>
                  <a:schemeClr val="bg1"/>
                </a:solidFill>
              </a:rPr>
              <a:t>química</a:t>
            </a:r>
            <a:r>
              <a:rPr lang="en-US" sz="2200" b="0" dirty="0">
                <a:solidFill>
                  <a:schemeClr val="bg1"/>
                </a:solidFill>
              </a:rPr>
              <a:t> para un </a:t>
            </a:r>
            <a:r>
              <a:rPr lang="en-US" sz="2200" b="0" dirty="0" err="1">
                <a:solidFill>
                  <a:schemeClr val="bg1"/>
                </a:solidFill>
              </a:rPr>
              <a:t>futuro</a:t>
            </a:r>
            <a:r>
              <a:rPr lang="en-US" sz="2200" b="0" dirty="0">
                <a:solidFill>
                  <a:schemeClr val="bg1"/>
                </a:solidFill>
              </a:rPr>
              <a:t> </a:t>
            </a:r>
            <a:r>
              <a:rPr lang="en-US" sz="2200" b="0" dirty="0" err="1">
                <a:solidFill>
                  <a:schemeClr val="bg1"/>
                </a:solidFill>
              </a:rPr>
              <a:t>sostenible</a:t>
            </a:r>
            <a:r>
              <a:rPr lang="en-US" b="0" dirty="0">
                <a:solidFill>
                  <a:schemeClr val="bg1"/>
                </a:solidFill>
              </a:rPr>
              <a:t>   </a:t>
            </a:r>
            <a:endParaRPr lang="de-DE" b="0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5B6C0FD-8480-7746-902E-72DB3FDED166}"/>
              </a:ext>
            </a:extLst>
          </p:cNvPr>
          <p:cNvSpPr/>
          <p:nvPr/>
        </p:nvSpPr>
        <p:spPr>
          <a:xfrm>
            <a:off x="3910264" y="2995863"/>
            <a:ext cx="1720516" cy="806116"/>
          </a:xfrm>
          <a:prstGeom prst="rect">
            <a:avLst/>
          </a:prstGeom>
          <a:solidFill>
            <a:srgbClr val="A9D2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127CAAD1-BBB3-7149-B29B-6C57FF40E0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29045" y="3174556"/>
            <a:ext cx="1407695" cy="508885"/>
          </a:xfrm>
          <a:prstGeom prst="rect">
            <a:avLst/>
          </a:prstGeom>
        </p:spPr>
      </p:pic>
      <p:pic>
        <p:nvPicPr>
          <p:cNvPr id="13" name="Picture 4" descr="Resultado de imagen para ods">
            <a:extLst>
              <a:ext uri="{FF2B5EF4-FFF2-40B4-BE49-F238E27FC236}">
                <a16:creationId xmlns:a16="http://schemas.microsoft.com/office/drawing/2014/main" id="{AEE8290A-1D09-4411-90F4-F9F0A47452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593" y="301450"/>
            <a:ext cx="592853" cy="592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5955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itle 39">
            <a:extLst>
              <a:ext uri="{FF2B5EF4-FFF2-40B4-BE49-F238E27FC236}">
                <a16:creationId xmlns:a16="http://schemas.microsoft.com/office/drawing/2014/main" id="{B2755C0C-B253-4C8E-BB11-63D8611490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</p:spPr>
        <p:txBody>
          <a:bodyPr/>
          <a:lstStyle/>
          <a:p>
            <a:r>
              <a:rPr lang="es-ES" sz="2800" b="1" dirty="0">
                <a:solidFill>
                  <a:schemeClr val="accent1"/>
                </a:solidFill>
              </a:rPr>
              <a:t>Sostenibilidad en toda la cadena de suministros</a:t>
            </a:r>
          </a:p>
        </p:txBody>
      </p:sp>
      <p:sp>
        <p:nvSpPr>
          <p:cNvPr id="86" name="Rectangle 71">
            <a:extLst>
              <a:ext uri="{FF2B5EF4-FFF2-40B4-BE49-F238E27FC236}">
                <a16:creationId xmlns:a16="http://schemas.microsoft.com/office/drawing/2014/main" id="{A20247F5-B1FB-4859-ADAE-9D6A1D7A91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9875" y="5947795"/>
            <a:ext cx="616193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CC9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61913" indent="-61913" fontAlgn="base">
              <a:spcBef>
                <a:spcPct val="0"/>
              </a:spcBef>
              <a:spcAft>
                <a:spcPct val="0"/>
              </a:spcAft>
              <a:tabLst>
                <a:tab pos="87313" algn="l"/>
              </a:tabLst>
              <a:defRPr/>
            </a:pPr>
            <a:r>
              <a:rPr lang="es-ES" altLang="zh-CN" sz="1000" spc="-10" dirty="0">
                <a:solidFill>
                  <a:schemeClr val="accent6"/>
                </a:solidFill>
              </a:rPr>
              <a:t> * Aspectos de materiales incluyen, por ejemplo, energía y medio ambiente, agua, recursos y ecosistemas, producción responsable y buen trato de los empleados</a:t>
            </a:r>
          </a:p>
        </p:txBody>
      </p:sp>
      <p:grpSp>
        <p:nvGrpSpPr>
          <p:cNvPr id="87" name="Gruppieren 1">
            <a:extLst>
              <a:ext uri="{FF2B5EF4-FFF2-40B4-BE49-F238E27FC236}">
                <a16:creationId xmlns:a16="http://schemas.microsoft.com/office/drawing/2014/main" id="{1718A0A5-CA7A-44A1-A102-65B2E11BF421}"/>
              </a:ext>
            </a:extLst>
          </p:cNvPr>
          <p:cNvGrpSpPr/>
          <p:nvPr/>
        </p:nvGrpSpPr>
        <p:grpSpPr>
          <a:xfrm>
            <a:off x="982688" y="1273226"/>
            <a:ext cx="10225035" cy="4631127"/>
            <a:chOff x="1739207" y="2022107"/>
            <a:chExt cx="8437285" cy="3821419"/>
          </a:xfrm>
        </p:grpSpPr>
        <p:sp>
          <p:nvSpPr>
            <p:cNvPr id="88" name="Richtungspfeil 73">
              <a:extLst>
                <a:ext uri="{FF2B5EF4-FFF2-40B4-BE49-F238E27FC236}">
                  <a16:creationId xmlns:a16="http://schemas.microsoft.com/office/drawing/2014/main" id="{4FCC0C31-3BE4-412E-A47F-9E2DC27DD2D6}"/>
                </a:ext>
              </a:extLst>
            </p:cNvPr>
            <p:cNvSpPr/>
            <p:nvPr/>
          </p:nvSpPr>
          <p:spPr>
            <a:xfrm>
              <a:off x="1739207" y="2600908"/>
              <a:ext cx="8437285" cy="2543092"/>
            </a:xfrm>
            <a:prstGeom prst="homePlate">
              <a:avLst>
                <a:gd name="adj" fmla="val 20139"/>
              </a:avLst>
            </a:prstGeom>
            <a:solidFill>
              <a:schemeClr val="bg1">
                <a:lumMod val="85000"/>
              </a:schemeClr>
            </a:solidFill>
            <a:ln w="254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s-ES" sz="200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9" name="Rechteck 74">
              <a:extLst>
                <a:ext uri="{FF2B5EF4-FFF2-40B4-BE49-F238E27FC236}">
                  <a16:creationId xmlns:a16="http://schemas.microsoft.com/office/drawing/2014/main" id="{A1BFAE16-0261-4E22-978C-B710923BEA82}"/>
                </a:ext>
              </a:extLst>
            </p:cNvPr>
            <p:cNvSpPr/>
            <p:nvPr/>
          </p:nvSpPr>
          <p:spPr>
            <a:xfrm>
              <a:off x="5443761" y="2649016"/>
              <a:ext cx="2016000" cy="2448000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44000" rIns="72000" rtlCol="0" anchor="t" anchorCtr="0"/>
            <a:lstStyle/>
            <a:p>
              <a:pPr marL="342900" indent="-342900">
                <a:spcAft>
                  <a:spcPts val="600"/>
                </a:spcAft>
                <a:buClr>
                  <a:srgbClr val="60A31D"/>
                </a:buClr>
                <a:buFont typeface="Wingdings" panose="05000000000000000000" pitchFamily="2" charset="2"/>
                <a:buChar char="§"/>
                <a:defRPr/>
              </a:pPr>
              <a:endParaRPr lang="es-ES" sz="160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90" name="Rechteck 75">
              <a:extLst>
                <a:ext uri="{FF2B5EF4-FFF2-40B4-BE49-F238E27FC236}">
                  <a16:creationId xmlns:a16="http://schemas.microsoft.com/office/drawing/2014/main" id="{ED85FDB2-B92A-4A74-A777-2D64C53AE348}"/>
                </a:ext>
              </a:extLst>
            </p:cNvPr>
            <p:cNvSpPr/>
            <p:nvPr/>
          </p:nvSpPr>
          <p:spPr>
            <a:xfrm>
              <a:off x="7592380" y="2649016"/>
              <a:ext cx="2016000" cy="2448000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144000" rIns="72000" rtlCol="0" anchor="t" anchorCtr="0"/>
            <a:lstStyle/>
            <a:p>
              <a:pPr marL="342900" indent="-342900">
                <a:spcAft>
                  <a:spcPts val="600"/>
                </a:spcAft>
                <a:buClr>
                  <a:srgbClr val="60A31D"/>
                </a:buClr>
                <a:buFont typeface="Wingdings" panose="05000000000000000000" pitchFamily="2" charset="2"/>
                <a:buChar char="§"/>
                <a:defRPr/>
              </a:pPr>
              <a:endParaRPr lang="es-ES" sz="160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91" name="Eingekerbter Richtungspfeil 57">
              <a:extLst>
                <a:ext uri="{FF2B5EF4-FFF2-40B4-BE49-F238E27FC236}">
                  <a16:creationId xmlns:a16="http://schemas.microsoft.com/office/drawing/2014/main" id="{94470083-5BC4-488E-9E89-C6CD10AF1DF2}"/>
                </a:ext>
              </a:extLst>
            </p:cNvPr>
            <p:cNvSpPr/>
            <p:nvPr/>
          </p:nvSpPr>
          <p:spPr>
            <a:xfrm>
              <a:off x="5441488" y="2022107"/>
              <a:ext cx="2160000" cy="493200"/>
            </a:xfrm>
            <a:prstGeom prst="chevron">
              <a:avLst>
                <a:gd name="adj" fmla="val 27764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rtlCol="0" anchor="ctr" anchorCtr="0"/>
            <a:lstStyle/>
            <a:p>
              <a:pPr>
                <a:lnSpc>
                  <a:spcPct val="110000"/>
                </a:lnSpc>
                <a:buClr>
                  <a:srgbClr val="60A31D"/>
                </a:buClr>
                <a:defRPr/>
              </a:pPr>
              <a:r>
                <a:rPr lang="es-ES" sz="2400" b="1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/>
                  <a:cs typeface="Arial"/>
                </a:rPr>
                <a:t>BASF</a:t>
              </a:r>
            </a:p>
          </p:txBody>
        </p:sp>
        <p:sp>
          <p:nvSpPr>
            <p:cNvPr id="92" name="Richtungspfeil 77">
              <a:extLst>
                <a:ext uri="{FF2B5EF4-FFF2-40B4-BE49-F238E27FC236}">
                  <a16:creationId xmlns:a16="http://schemas.microsoft.com/office/drawing/2014/main" id="{DB23B582-D6C7-4740-93F0-6831DF91DF48}"/>
                </a:ext>
              </a:extLst>
            </p:cNvPr>
            <p:cNvSpPr/>
            <p:nvPr/>
          </p:nvSpPr>
          <p:spPr>
            <a:xfrm>
              <a:off x="3296100" y="2024063"/>
              <a:ext cx="2160000" cy="491244"/>
            </a:xfrm>
            <a:prstGeom prst="homePlate">
              <a:avLst>
                <a:gd name="adj" fmla="val 29469"/>
              </a:avLst>
            </a:prstGeom>
            <a:solidFill>
              <a:schemeClr val="accent2"/>
            </a:solidFill>
            <a:ln w="254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0" rIns="0" bIns="0" rtlCol="0" anchor="ctr" anchorCtr="0"/>
            <a:lstStyle/>
            <a:p>
              <a:pPr lvl="0">
                <a:lnSpc>
                  <a:spcPct val="110000"/>
                </a:lnSpc>
                <a:defRPr/>
              </a:pPr>
              <a:r>
                <a:rPr lang="es-ES" sz="2400" b="1">
                  <a:solidFill>
                    <a:schemeClr val="bg1"/>
                  </a:solidFill>
                </a:rPr>
                <a:t>Proveedores</a:t>
              </a:r>
            </a:p>
          </p:txBody>
        </p:sp>
        <p:sp>
          <p:nvSpPr>
            <p:cNvPr id="93" name="Rechteck 78">
              <a:extLst>
                <a:ext uri="{FF2B5EF4-FFF2-40B4-BE49-F238E27FC236}">
                  <a16:creationId xmlns:a16="http://schemas.microsoft.com/office/drawing/2014/main" id="{219C151F-11CC-42F4-A009-ECB29047C659}"/>
                </a:ext>
              </a:extLst>
            </p:cNvPr>
            <p:cNvSpPr/>
            <p:nvPr/>
          </p:nvSpPr>
          <p:spPr>
            <a:xfrm>
              <a:off x="3296100" y="2649016"/>
              <a:ext cx="2016000" cy="2448000"/>
            </a:xfrm>
            <a:prstGeom prst="rect">
              <a:avLst/>
            </a:prstGeom>
            <a:solidFill>
              <a:schemeClr val="accent2"/>
            </a:solidFill>
            <a:ln w="254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s-ES" sz="200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94" name="Textfeld 79">
              <a:extLst>
                <a:ext uri="{FF2B5EF4-FFF2-40B4-BE49-F238E27FC236}">
                  <a16:creationId xmlns:a16="http://schemas.microsoft.com/office/drawing/2014/main" id="{E71427B4-C25E-49A3-B333-4C180B7BACFF}"/>
                </a:ext>
              </a:extLst>
            </p:cNvPr>
            <p:cNvSpPr txBox="1"/>
            <p:nvPr/>
          </p:nvSpPr>
          <p:spPr>
            <a:xfrm>
              <a:off x="7738059" y="2786532"/>
              <a:ext cx="1693674" cy="6514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lvl="0">
                <a:lnSpc>
                  <a:spcPct val="95000"/>
                </a:lnSpc>
                <a:defRPr/>
              </a:pPr>
              <a:r>
                <a:rPr lang="es-ES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Promovemos soluciones sostenibles </a:t>
              </a:r>
            </a:p>
          </p:txBody>
        </p:sp>
        <p:sp>
          <p:nvSpPr>
            <p:cNvPr id="95" name="Textfeld 80">
              <a:extLst>
                <a:ext uri="{FF2B5EF4-FFF2-40B4-BE49-F238E27FC236}">
                  <a16:creationId xmlns:a16="http://schemas.microsoft.com/office/drawing/2014/main" id="{F579511E-6255-4B26-9DBD-4C053CF4E69D}"/>
                </a:ext>
              </a:extLst>
            </p:cNvPr>
            <p:cNvSpPr txBox="1"/>
            <p:nvPr/>
          </p:nvSpPr>
          <p:spPr>
            <a:xfrm>
              <a:off x="5555886" y="2786532"/>
              <a:ext cx="1735426" cy="86856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 rtlCol="0">
              <a:spAutoFit/>
            </a:bodyPr>
            <a:lstStyle/>
            <a:p>
              <a:pPr lvl="0">
                <a:lnSpc>
                  <a:spcPct val="95000"/>
                </a:lnSpc>
                <a:defRPr/>
              </a:pPr>
              <a:r>
                <a:rPr lang="es-ES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Producimos con </a:t>
              </a:r>
            </a:p>
            <a:p>
              <a:pPr lvl="0">
                <a:lnSpc>
                  <a:spcPct val="95000"/>
                </a:lnSpc>
                <a:defRPr/>
              </a:pPr>
              <a:r>
                <a:rPr lang="es-ES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eguridad para las </a:t>
              </a:r>
            </a:p>
            <a:p>
              <a:pPr lvl="0">
                <a:lnSpc>
                  <a:spcPct val="95000"/>
                </a:lnSpc>
                <a:defRPr/>
              </a:pPr>
              <a:r>
                <a:rPr lang="es-ES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personas y el </a:t>
              </a:r>
            </a:p>
            <a:p>
              <a:pPr lvl="0">
                <a:lnSpc>
                  <a:spcPct val="95000"/>
                </a:lnSpc>
                <a:defRPr/>
              </a:pPr>
              <a:r>
                <a:rPr lang="es-ES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medio ambiente</a:t>
              </a:r>
            </a:p>
          </p:txBody>
        </p:sp>
        <p:sp>
          <p:nvSpPr>
            <p:cNvPr id="96" name="Textfeld 81">
              <a:extLst>
                <a:ext uri="{FF2B5EF4-FFF2-40B4-BE49-F238E27FC236}">
                  <a16:creationId xmlns:a16="http://schemas.microsoft.com/office/drawing/2014/main" id="{ADE78A10-D847-4F2A-AEE2-D0E38B65984E}"/>
                </a:ext>
              </a:extLst>
            </p:cNvPr>
            <p:cNvSpPr txBox="1"/>
            <p:nvPr/>
          </p:nvSpPr>
          <p:spPr>
            <a:xfrm>
              <a:off x="5555886" y="3792699"/>
              <a:ext cx="1910858" cy="4342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rtlCol="0">
              <a:spAutoFit/>
            </a:bodyPr>
            <a:lstStyle/>
            <a:p>
              <a:pPr lvl="0">
                <a:lnSpc>
                  <a:spcPct val="95000"/>
                </a:lnSpc>
                <a:defRPr/>
              </a:pPr>
              <a:r>
                <a:rPr lang="es-ES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Producimos de </a:t>
              </a:r>
            </a:p>
            <a:p>
              <a:pPr lvl="0">
                <a:lnSpc>
                  <a:spcPct val="95000"/>
                </a:lnSpc>
                <a:defRPr/>
              </a:pPr>
              <a:r>
                <a:rPr lang="es-ES" b="1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forma eficiente </a:t>
              </a:r>
            </a:p>
          </p:txBody>
        </p:sp>
        <p:sp>
          <p:nvSpPr>
            <p:cNvPr id="97" name="Textfeld 25">
              <a:extLst>
                <a:ext uri="{FF2B5EF4-FFF2-40B4-BE49-F238E27FC236}">
                  <a16:creationId xmlns:a16="http://schemas.microsoft.com/office/drawing/2014/main" id="{C484AF1B-BB09-4DF3-A918-AC0E21B659FE}"/>
                </a:ext>
              </a:extLst>
            </p:cNvPr>
            <p:cNvSpPr txBox="1"/>
            <p:nvPr/>
          </p:nvSpPr>
          <p:spPr>
            <a:xfrm>
              <a:off x="3412918" y="2786531"/>
              <a:ext cx="1756590" cy="4342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 rtlCol="0">
              <a:spAutoFit/>
            </a:bodyPr>
            <a:lstStyle>
              <a:defPPr>
                <a:defRPr lang="de-DE"/>
              </a:defPPr>
              <a:lvl1pPr>
                <a:defRPr sz="1400" b="1">
                  <a:solidFill>
                    <a:schemeClr val="bg1"/>
                  </a:solidFill>
                </a:defRPr>
              </a:lvl1pPr>
            </a:lstStyle>
            <a:p>
              <a:pPr lvl="0">
                <a:lnSpc>
                  <a:spcPct val="95000"/>
                </a:lnSpc>
                <a:defRPr/>
              </a:pPr>
              <a:r>
                <a:rPr lang="es-ES" sz="1800"/>
                <a:t>Compramos de </a:t>
              </a:r>
              <a:br>
                <a:rPr lang="es-ES" sz="1800"/>
              </a:br>
              <a:r>
                <a:rPr lang="es-ES" sz="1800"/>
                <a:t>forma responsable </a:t>
              </a:r>
            </a:p>
          </p:txBody>
        </p:sp>
        <p:sp>
          <p:nvSpPr>
            <p:cNvPr id="98" name="Pfeil nach links und rechts 83">
              <a:extLst>
                <a:ext uri="{FF2B5EF4-FFF2-40B4-BE49-F238E27FC236}">
                  <a16:creationId xmlns:a16="http://schemas.microsoft.com/office/drawing/2014/main" id="{3E183657-BDEC-404E-8314-C9BF4886734F}"/>
                </a:ext>
              </a:extLst>
            </p:cNvPr>
            <p:cNvSpPr/>
            <p:nvPr/>
          </p:nvSpPr>
          <p:spPr bwMode="auto">
            <a:xfrm>
              <a:off x="1739208" y="5267526"/>
              <a:ext cx="8308587" cy="576000"/>
            </a:xfrm>
            <a:prstGeom prst="leftRightArrow">
              <a:avLst>
                <a:gd name="adj1" fmla="val 96825"/>
                <a:gd name="adj2" fmla="val 37300"/>
              </a:avLst>
            </a:prstGeom>
            <a:solidFill>
              <a:schemeClr val="accent3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s-ES">
                <a:solidFill>
                  <a:schemeClr val="accent1"/>
                </a:solidFill>
                <a:latin typeface="Arial"/>
                <a:cs typeface="Arial"/>
              </a:endParaRPr>
            </a:p>
          </p:txBody>
        </p:sp>
        <p:sp>
          <p:nvSpPr>
            <p:cNvPr id="99" name="Textfeld 84">
              <a:extLst>
                <a:ext uri="{FF2B5EF4-FFF2-40B4-BE49-F238E27FC236}">
                  <a16:creationId xmlns:a16="http://schemas.microsoft.com/office/drawing/2014/main" id="{BC3FA404-7C38-4E8F-9541-A08D141A3469}"/>
                </a:ext>
              </a:extLst>
            </p:cNvPr>
            <p:cNvSpPr txBox="1"/>
            <p:nvPr/>
          </p:nvSpPr>
          <p:spPr>
            <a:xfrm>
              <a:off x="2901482" y="5435554"/>
              <a:ext cx="5984039" cy="22856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lvl="0" algn="ctr">
                <a:defRPr/>
              </a:pPr>
              <a:r>
                <a:rPr lang="es-ES" b="1" dirty="0">
                  <a:solidFill>
                    <a:schemeClr val="bg1"/>
                  </a:solidFill>
                </a:rPr>
                <a:t>Valoramos a las personas y las tratamos con respeto</a:t>
              </a:r>
            </a:p>
          </p:txBody>
        </p:sp>
        <p:sp>
          <p:nvSpPr>
            <p:cNvPr id="100" name="Textfeld 85">
              <a:extLst>
                <a:ext uri="{FF2B5EF4-FFF2-40B4-BE49-F238E27FC236}">
                  <a16:creationId xmlns:a16="http://schemas.microsoft.com/office/drawing/2014/main" id="{8E736140-E545-4E23-8E9E-DD0B5C507618}"/>
                </a:ext>
              </a:extLst>
            </p:cNvPr>
            <p:cNvSpPr txBox="1"/>
            <p:nvPr/>
          </p:nvSpPr>
          <p:spPr>
            <a:xfrm>
              <a:off x="1909542" y="2786531"/>
              <a:ext cx="1132260" cy="4342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 rtlCol="0">
              <a:spAutoFit/>
            </a:bodyPr>
            <a:lstStyle/>
            <a:p>
              <a:pPr lvl="0">
                <a:lnSpc>
                  <a:spcPct val="95000"/>
                </a:lnSpc>
                <a:defRPr/>
              </a:pPr>
              <a:r>
                <a:rPr lang="es-ES" b="1">
                  <a:solidFill>
                    <a:srgbClr val="000000"/>
                  </a:solidFill>
                </a:rPr>
                <a:t>Aspectos de</a:t>
              </a:r>
              <a:br>
                <a:rPr lang="es-ES" b="1">
                  <a:solidFill>
                    <a:srgbClr val="000000"/>
                  </a:solidFill>
                </a:rPr>
              </a:br>
              <a:r>
                <a:rPr lang="es-ES" b="1">
                  <a:solidFill>
                    <a:srgbClr val="000000"/>
                  </a:solidFill>
                </a:rPr>
                <a:t>materiales</a:t>
              </a:r>
              <a:r>
                <a:rPr lang="es-ES" b="1">
                  <a:solidFill>
                    <a:srgbClr val="000000"/>
                  </a:solidFill>
                  <a:latin typeface="Arial"/>
                  <a:cs typeface="Arial"/>
                </a:rPr>
                <a:t>*</a:t>
              </a:r>
            </a:p>
          </p:txBody>
        </p:sp>
        <p:sp>
          <p:nvSpPr>
            <p:cNvPr id="101" name="Eingekerbter Richtungspfeil 33">
              <a:extLst>
                <a:ext uri="{FF2B5EF4-FFF2-40B4-BE49-F238E27FC236}">
                  <a16:creationId xmlns:a16="http://schemas.microsoft.com/office/drawing/2014/main" id="{1CFEE0C1-F5D0-47D8-9708-99570D08EF3B}"/>
                </a:ext>
              </a:extLst>
            </p:cNvPr>
            <p:cNvSpPr/>
            <p:nvPr/>
          </p:nvSpPr>
          <p:spPr>
            <a:xfrm>
              <a:off x="7580428" y="2027215"/>
              <a:ext cx="2160000" cy="493200"/>
            </a:xfrm>
            <a:prstGeom prst="chevron">
              <a:avLst>
                <a:gd name="adj" fmla="val 26905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44000" tIns="0" rIns="0" bIns="0" rtlCol="0" anchor="ctr" anchorCtr="0"/>
            <a:lstStyle/>
            <a:p>
              <a:pPr>
                <a:lnSpc>
                  <a:spcPct val="110000"/>
                </a:lnSpc>
                <a:buClr>
                  <a:srgbClr val="60A31D"/>
                </a:buClr>
                <a:defRPr/>
              </a:pPr>
              <a:r>
                <a:rPr lang="es-ES" sz="2400" b="1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/>
                  <a:cs typeface="Arial"/>
                </a:rPr>
                <a:t>Clientes</a:t>
              </a:r>
            </a:p>
          </p:txBody>
        </p:sp>
        <p:grpSp>
          <p:nvGrpSpPr>
            <p:cNvPr id="102" name="Gruppieren 87">
              <a:extLst>
                <a:ext uri="{FF2B5EF4-FFF2-40B4-BE49-F238E27FC236}">
                  <a16:creationId xmlns:a16="http://schemas.microsoft.com/office/drawing/2014/main" id="{C7074209-FA61-4EAB-80F3-854722558131}"/>
                </a:ext>
              </a:extLst>
            </p:cNvPr>
            <p:cNvGrpSpPr/>
            <p:nvPr/>
          </p:nvGrpSpPr>
          <p:grpSpPr>
            <a:xfrm>
              <a:off x="1864172" y="3324021"/>
              <a:ext cx="852250" cy="1711186"/>
              <a:chOff x="549275" y="3630613"/>
              <a:chExt cx="778010" cy="1562124"/>
            </a:xfrm>
          </p:grpSpPr>
          <p:grpSp>
            <p:nvGrpSpPr>
              <p:cNvPr id="103" name="Gruppieren 88">
                <a:extLst>
                  <a:ext uri="{FF2B5EF4-FFF2-40B4-BE49-F238E27FC236}">
                    <a16:creationId xmlns:a16="http://schemas.microsoft.com/office/drawing/2014/main" id="{239F3F03-F927-4D87-97D3-F12531C438E8}"/>
                  </a:ext>
                </a:extLst>
              </p:cNvPr>
              <p:cNvGrpSpPr/>
              <p:nvPr/>
            </p:nvGrpSpPr>
            <p:grpSpPr>
              <a:xfrm>
                <a:off x="549675" y="4835550"/>
                <a:ext cx="353636" cy="350967"/>
                <a:chOff x="549675" y="4835550"/>
                <a:chExt cx="353636" cy="350967"/>
              </a:xfrm>
            </p:grpSpPr>
            <p:sp>
              <p:nvSpPr>
                <p:cNvPr id="152" name="Ellipse 137">
                  <a:extLst>
                    <a:ext uri="{FF2B5EF4-FFF2-40B4-BE49-F238E27FC236}">
                      <a16:creationId xmlns:a16="http://schemas.microsoft.com/office/drawing/2014/main" id="{0C57CBAC-3D4F-4AD3-9B8A-091EA197EA0F}"/>
                    </a:ext>
                  </a:extLst>
                </p:cNvPr>
                <p:cNvSpPr/>
                <p:nvPr/>
              </p:nvSpPr>
              <p:spPr>
                <a:xfrm>
                  <a:off x="549675" y="4835550"/>
                  <a:ext cx="353636" cy="350967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es-ES" sz="2000">
                    <a:solidFill>
                      <a:srgbClr val="FFFFFF"/>
                    </a:solidFill>
                    <a:latin typeface="Arial"/>
                    <a:cs typeface="Arial"/>
                  </a:endParaRPr>
                </a:p>
              </p:txBody>
            </p:sp>
            <p:pic>
              <p:nvPicPr>
                <p:cNvPr id="153" name="Picture 28" descr="BASF_Men-Handshake_lg_3c.emf">
                  <a:extLst>
                    <a:ext uri="{FF2B5EF4-FFF2-40B4-BE49-F238E27FC236}">
                      <a16:creationId xmlns:a16="http://schemas.microsoft.com/office/drawing/2014/main" id="{DEAEF15E-3A6C-4F14-A124-B9BEB08886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biLevel thresh="2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4634" y="4876590"/>
                  <a:ext cx="183717" cy="281326"/>
                </a:xfrm>
                <a:prstGeom prst="rect">
                  <a:avLst/>
                </a:prstGeom>
              </p:spPr>
            </p:pic>
          </p:grpSp>
          <p:grpSp>
            <p:nvGrpSpPr>
              <p:cNvPr id="104" name="Gruppieren 89">
                <a:extLst>
                  <a:ext uri="{FF2B5EF4-FFF2-40B4-BE49-F238E27FC236}">
                    <a16:creationId xmlns:a16="http://schemas.microsoft.com/office/drawing/2014/main" id="{A90856E5-E124-4019-8CD0-C1E046A896EE}"/>
                  </a:ext>
                </a:extLst>
              </p:cNvPr>
              <p:cNvGrpSpPr/>
              <p:nvPr/>
            </p:nvGrpSpPr>
            <p:grpSpPr>
              <a:xfrm>
                <a:off x="973649" y="4841770"/>
                <a:ext cx="353636" cy="350967"/>
                <a:chOff x="973649" y="4841770"/>
                <a:chExt cx="353636" cy="350967"/>
              </a:xfrm>
            </p:grpSpPr>
            <p:sp>
              <p:nvSpPr>
                <p:cNvPr id="138" name="Ellipse 123">
                  <a:extLst>
                    <a:ext uri="{FF2B5EF4-FFF2-40B4-BE49-F238E27FC236}">
                      <a16:creationId xmlns:a16="http://schemas.microsoft.com/office/drawing/2014/main" id="{F8F1263E-2206-4B4B-926D-FE6B44CE3B03}"/>
                    </a:ext>
                  </a:extLst>
                </p:cNvPr>
                <p:cNvSpPr/>
                <p:nvPr/>
              </p:nvSpPr>
              <p:spPr>
                <a:xfrm>
                  <a:off x="973649" y="4841770"/>
                  <a:ext cx="353636" cy="350967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es-ES" sz="2000">
                    <a:solidFill>
                      <a:srgbClr val="FFFFFF"/>
                    </a:solidFill>
                    <a:latin typeface="Arial"/>
                    <a:cs typeface="Arial"/>
                  </a:endParaRPr>
                </a:p>
              </p:txBody>
            </p:sp>
            <p:grpSp>
              <p:nvGrpSpPr>
                <p:cNvPr id="139" name="Gruppieren 124">
                  <a:extLst>
                    <a:ext uri="{FF2B5EF4-FFF2-40B4-BE49-F238E27FC236}">
                      <a16:creationId xmlns:a16="http://schemas.microsoft.com/office/drawing/2014/main" id="{8C08A779-864E-4CA4-B30C-7AEC228CDC95}"/>
                    </a:ext>
                  </a:extLst>
                </p:cNvPr>
                <p:cNvGrpSpPr/>
                <p:nvPr/>
              </p:nvGrpSpPr>
              <p:grpSpPr>
                <a:xfrm>
                  <a:off x="1028656" y="4884003"/>
                  <a:ext cx="244492" cy="254059"/>
                  <a:chOff x="1028656" y="4884003"/>
                  <a:chExt cx="244492" cy="254059"/>
                </a:xfrm>
              </p:grpSpPr>
              <p:sp>
                <p:nvSpPr>
                  <p:cNvPr id="140" name="AutoShape 3">
                    <a:extLst>
                      <a:ext uri="{FF2B5EF4-FFF2-40B4-BE49-F238E27FC236}">
                        <a16:creationId xmlns:a16="http://schemas.microsoft.com/office/drawing/2014/main" id="{71E70BEA-2453-482F-9C1E-CD2410BDBFD0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1159361" y="4884003"/>
                    <a:ext cx="112460" cy="254059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s-ES" sz="200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141" name="Freeform 5">
                    <a:extLst>
                      <a:ext uri="{FF2B5EF4-FFF2-40B4-BE49-F238E27FC236}">
                        <a16:creationId xmlns:a16="http://schemas.microsoft.com/office/drawing/2014/main" id="{02DBF61F-69B4-4613-8C8F-1D198CB78A4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90545" y="5123686"/>
                    <a:ext cx="24770" cy="14376"/>
                  </a:xfrm>
                  <a:custGeom>
                    <a:avLst/>
                    <a:gdLst>
                      <a:gd name="T0" fmla="*/ 0 w 55"/>
                      <a:gd name="T1" fmla="*/ 32 h 32"/>
                      <a:gd name="T2" fmla="*/ 55 w 55"/>
                      <a:gd name="T3" fmla="*/ 32 h 32"/>
                      <a:gd name="T4" fmla="*/ 27 w 55"/>
                      <a:gd name="T5" fmla="*/ 0 h 32"/>
                      <a:gd name="T6" fmla="*/ 0 w 55"/>
                      <a:gd name="T7" fmla="*/ 32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55" h="32">
                        <a:moveTo>
                          <a:pt x="0" y="32"/>
                        </a:moveTo>
                        <a:cubicBezTo>
                          <a:pt x="55" y="32"/>
                          <a:pt x="55" y="32"/>
                          <a:pt x="55" y="32"/>
                        </a:cubicBezTo>
                        <a:cubicBezTo>
                          <a:pt x="54" y="14"/>
                          <a:pt x="42" y="0"/>
                          <a:pt x="27" y="0"/>
                        </a:cubicBezTo>
                        <a:cubicBezTo>
                          <a:pt x="13" y="0"/>
                          <a:pt x="1" y="14"/>
                          <a:pt x="0" y="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s-ES" sz="200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142" name="Freeform 6">
                    <a:extLst>
                      <a:ext uri="{FF2B5EF4-FFF2-40B4-BE49-F238E27FC236}">
                        <a16:creationId xmlns:a16="http://schemas.microsoft.com/office/drawing/2014/main" id="{6CD9BEFC-52E8-41B9-B2AF-BD98E3CFF4C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216752" y="5123686"/>
                    <a:ext cx="24770" cy="14376"/>
                  </a:xfrm>
                  <a:custGeom>
                    <a:avLst/>
                    <a:gdLst>
                      <a:gd name="T0" fmla="*/ 0 w 55"/>
                      <a:gd name="T1" fmla="*/ 32 h 32"/>
                      <a:gd name="T2" fmla="*/ 55 w 55"/>
                      <a:gd name="T3" fmla="*/ 32 h 32"/>
                      <a:gd name="T4" fmla="*/ 28 w 55"/>
                      <a:gd name="T5" fmla="*/ 0 h 32"/>
                      <a:gd name="T6" fmla="*/ 0 w 55"/>
                      <a:gd name="T7" fmla="*/ 32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55" h="32">
                        <a:moveTo>
                          <a:pt x="0" y="32"/>
                        </a:moveTo>
                        <a:cubicBezTo>
                          <a:pt x="55" y="32"/>
                          <a:pt x="55" y="32"/>
                          <a:pt x="55" y="32"/>
                        </a:cubicBezTo>
                        <a:cubicBezTo>
                          <a:pt x="54" y="14"/>
                          <a:pt x="42" y="0"/>
                          <a:pt x="28" y="0"/>
                        </a:cubicBezTo>
                        <a:cubicBezTo>
                          <a:pt x="13" y="0"/>
                          <a:pt x="1" y="14"/>
                          <a:pt x="0" y="32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s-ES" sz="200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143" name="Freeform 7">
                    <a:extLst>
                      <a:ext uri="{FF2B5EF4-FFF2-40B4-BE49-F238E27FC236}">
                        <a16:creationId xmlns:a16="http://schemas.microsoft.com/office/drawing/2014/main" id="{D83D68FA-DB14-459E-865E-88E65357374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58034" y="4939534"/>
                    <a:ext cx="115114" cy="187334"/>
                  </a:xfrm>
                  <a:custGeom>
                    <a:avLst/>
                    <a:gdLst>
                      <a:gd name="T0" fmla="*/ 251 w 255"/>
                      <a:gd name="T1" fmla="*/ 164 h 418"/>
                      <a:gd name="T2" fmla="*/ 213 w 255"/>
                      <a:gd name="T3" fmla="*/ 39 h 418"/>
                      <a:gd name="T4" fmla="*/ 165 w 255"/>
                      <a:gd name="T5" fmla="*/ 0 h 418"/>
                      <a:gd name="T6" fmla="*/ 90 w 255"/>
                      <a:gd name="T7" fmla="*/ 0 h 418"/>
                      <a:gd name="T8" fmla="*/ 42 w 255"/>
                      <a:gd name="T9" fmla="*/ 39 h 418"/>
                      <a:gd name="T10" fmla="*/ 4 w 255"/>
                      <a:gd name="T11" fmla="*/ 164 h 418"/>
                      <a:gd name="T12" fmla="*/ 18 w 255"/>
                      <a:gd name="T13" fmla="*/ 191 h 418"/>
                      <a:gd name="T14" fmla="*/ 24 w 255"/>
                      <a:gd name="T15" fmla="*/ 187 h 418"/>
                      <a:gd name="T16" fmla="*/ 28 w 255"/>
                      <a:gd name="T17" fmla="*/ 173 h 418"/>
                      <a:gd name="T18" fmla="*/ 31 w 255"/>
                      <a:gd name="T19" fmla="*/ 174 h 418"/>
                      <a:gd name="T20" fmla="*/ 27 w 255"/>
                      <a:gd name="T21" fmla="*/ 185 h 418"/>
                      <a:gd name="T22" fmla="*/ 29 w 255"/>
                      <a:gd name="T23" fmla="*/ 189 h 418"/>
                      <a:gd name="T24" fmla="*/ 39 w 255"/>
                      <a:gd name="T25" fmla="*/ 177 h 418"/>
                      <a:gd name="T26" fmla="*/ 73 w 255"/>
                      <a:gd name="T27" fmla="*/ 62 h 418"/>
                      <a:gd name="T28" fmla="*/ 82 w 255"/>
                      <a:gd name="T29" fmla="*/ 62 h 418"/>
                      <a:gd name="T30" fmla="*/ 24 w 255"/>
                      <a:gd name="T31" fmla="*/ 265 h 418"/>
                      <a:gd name="T32" fmla="*/ 78 w 255"/>
                      <a:gd name="T33" fmla="*/ 265 h 418"/>
                      <a:gd name="T34" fmla="*/ 78 w 255"/>
                      <a:gd name="T35" fmla="*/ 417 h 418"/>
                      <a:gd name="T36" fmla="*/ 99 w 255"/>
                      <a:gd name="T37" fmla="*/ 407 h 418"/>
                      <a:gd name="T38" fmla="*/ 119 w 255"/>
                      <a:gd name="T39" fmla="*/ 416 h 418"/>
                      <a:gd name="T40" fmla="*/ 119 w 255"/>
                      <a:gd name="T41" fmla="*/ 264 h 418"/>
                      <a:gd name="T42" fmla="*/ 136 w 255"/>
                      <a:gd name="T43" fmla="*/ 264 h 418"/>
                      <a:gd name="T44" fmla="*/ 136 w 255"/>
                      <a:gd name="T45" fmla="*/ 418 h 418"/>
                      <a:gd name="T46" fmla="*/ 158 w 255"/>
                      <a:gd name="T47" fmla="*/ 407 h 418"/>
                      <a:gd name="T48" fmla="*/ 177 w 255"/>
                      <a:gd name="T49" fmla="*/ 415 h 418"/>
                      <a:gd name="T50" fmla="*/ 177 w 255"/>
                      <a:gd name="T51" fmla="*/ 265 h 418"/>
                      <a:gd name="T52" fmla="*/ 231 w 255"/>
                      <a:gd name="T53" fmla="*/ 265 h 418"/>
                      <a:gd name="T54" fmla="*/ 172 w 255"/>
                      <a:gd name="T55" fmla="*/ 62 h 418"/>
                      <a:gd name="T56" fmla="*/ 182 w 255"/>
                      <a:gd name="T57" fmla="*/ 62 h 418"/>
                      <a:gd name="T58" fmla="*/ 216 w 255"/>
                      <a:gd name="T59" fmla="*/ 176 h 418"/>
                      <a:gd name="T60" fmla="*/ 226 w 255"/>
                      <a:gd name="T61" fmla="*/ 189 h 418"/>
                      <a:gd name="T62" fmla="*/ 227 w 255"/>
                      <a:gd name="T63" fmla="*/ 185 h 418"/>
                      <a:gd name="T64" fmla="*/ 224 w 255"/>
                      <a:gd name="T65" fmla="*/ 174 h 418"/>
                      <a:gd name="T66" fmla="*/ 227 w 255"/>
                      <a:gd name="T67" fmla="*/ 173 h 418"/>
                      <a:gd name="T68" fmla="*/ 231 w 255"/>
                      <a:gd name="T69" fmla="*/ 187 h 418"/>
                      <a:gd name="T70" fmla="*/ 238 w 255"/>
                      <a:gd name="T71" fmla="*/ 190 h 418"/>
                      <a:gd name="T72" fmla="*/ 251 w 255"/>
                      <a:gd name="T73" fmla="*/ 164 h 4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255" h="418">
                        <a:moveTo>
                          <a:pt x="251" y="164"/>
                        </a:moveTo>
                        <a:cubicBezTo>
                          <a:pt x="213" y="39"/>
                          <a:pt x="213" y="39"/>
                          <a:pt x="213" y="39"/>
                        </a:cubicBezTo>
                        <a:cubicBezTo>
                          <a:pt x="208" y="25"/>
                          <a:pt x="196" y="0"/>
                          <a:pt x="165" y="0"/>
                        </a:cubicBezTo>
                        <a:cubicBezTo>
                          <a:pt x="90" y="0"/>
                          <a:pt x="90" y="0"/>
                          <a:pt x="90" y="0"/>
                        </a:cubicBezTo>
                        <a:cubicBezTo>
                          <a:pt x="59" y="0"/>
                          <a:pt x="46" y="25"/>
                          <a:pt x="42" y="39"/>
                        </a:cubicBezTo>
                        <a:cubicBezTo>
                          <a:pt x="4" y="164"/>
                          <a:pt x="4" y="164"/>
                          <a:pt x="4" y="164"/>
                        </a:cubicBezTo>
                        <a:cubicBezTo>
                          <a:pt x="0" y="179"/>
                          <a:pt x="8" y="189"/>
                          <a:pt x="18" y="191"/>
                        </a:cubicBezTo>
                        <a:cubicBezTo>
                          <a:pt x="20" y="191"/>
                          <a:pt x="23" y="190"/>
                          <a:pt x="24" y="187"/>
                        </a:cubicBezTo>
                        <a:cubicBezTo>
                          <a:pt x="28" y="173"/>
                          <a:pt x="28" y="173"/>
                          <a:pt x="28" y="173"/>
                        </a:cubicBezTo>
                        <a:cubicBezTo>
                          <a:pt x="31" y="174"/>
                          <a:pt x="31" y="174"/>
                          <a:pt x="31" y="174"/>
                        </a:cubicBezTo>
                        <a:cubicBezTo>
                          <a:pt x="27" y="185"/>
                          <a:pt x="27" y="185"/>
                          <a:pt x="27" y="185"/>
                        </a:cubicBezTo>
                        <a:cubicBezTo>
                          <a:pt x="27" y="185"/>
                          <a:pt x="27" y="189"/>
                          <a:pt x="29" y="189"/>
                        </a:cubicBezTo>
                        <a:cubicBezTo>
                          <a:pt x="33" y="187"/>
                          <a:pt x="37" y="183"/>
                          <a:pt x="39" y="177"/>
                        </a:cubicBezTo>
                        <a:cubicBezTo>
                          <a:pt x="73" y="62"/>
                          <a:pt x="73" y="62"/>
                          <a:pt x="73" y="62"/>
                        </a:cubicBezTo>
                        <a:cubicBezTo>
                          <a:pt x="82" y="62"/>
                          <a:pt x="82" y="62"/>
                          <a:pt x="82" y="62"/>
                        </a:cubicBezTo>
                        <a:cubicBezTo>
                          <a:pt x="24" y="265"/>
                          <a:pt x="24" y="265"/>
                          <a:pt x="24" y="265"/>
                        </a:cubicBezTo>
                        <a:cubicBezTo>
                          <a:pt x="78" y="265"/>
                          <a:pt x="78" y="265"/>
                          <a:pt x="78" y="265"/>
                        </a:cubicBezTo>
                        <a:cubicBezTo>
                          <a:pt x="78" y="417"/>
                          <a:pt x="78" y="417"/>
                          <a:pt x="78" y="417"/>
                        </a:cubicBezTo>
                        <a:cubicBezTo>
                          <a:pt x="84" y="411"/>
                          <a:pt x="91" y="407"/>
                          <a:pt x="99" y="407"/>
                        </a:cubicBezTo>
                        <a:cubicBezTo>
                          <a:pt x="107" y="407"/>
                          <a:pt x="114" y="410"/>
                          <a:pt x="119" y="416"/>
                        </a:cubicBezTo>
                        <a:cubicBezTo>
                          <a:pt x="119" y="264"/>
                          <a:pt x="119" y="264"/>
                          <a:pt x="119" y="264"/>
                        </a:cubicBezTo>
                        <a:cubicBezTo>
                          <a:pt x="136" y="264"/>
                          <a:pt x="136" y="264"/>
                          <a:pt x="136" y="264"/>
                        </a:cubicBezTo>
                        <a:cubicBezTo>
                          <a:pt x="136" y="418"/>
                          <a:pt x="136" y="418"/>
                          <a:pt x="136" y="418"/>
                        </a:cubicBezTo>
                        <a:cubicBezTo>
                          <a:pt x="141" y="411"/>
                          <a:pt x="149" y="407"/>
                          <a:pt x="158" y="407"/>
                        </a:cubicBezTo>
                        <a:cubicBezTo>
                          <a:pt x="165" y="407"/>
                          <a:pt x="171" y="410"/>
                          <a:pt x="177" y="415"/>
                        </a:cubicBezTo>
                        <a:cubicBezTo>
                          <a:pt x="177" y="265"/>
                          <a:pt x="177" y="265"/>
                          <a:pt x="177" y="265"/>
                        </a:cubicBezTo>
                        <a:cubicBezTo>
                          <a:pt x="231" y="265"/>
                          <a:pt x="231" y="265"/>
                          <a:pt x="231" y="265"/>
                        </a:cubicBezTo>
                        <a:cubicBezTo>
                          <a:pt x="172" y="62"/>
                          <a:pt x="172" y="62"/>
                          <a:pt x="172" y="62"/>
                        </a:cubicBezTo>
                        <a:cubicBezTo>
                          <a:pt x="182" y="62"/>
                          <a:pt x="182" y="62"/>
                          <a:pt x="182" y="62"/>
                        </a:cubicBezTo>
                        <a:cubicBezTo>
                          <a:pt x="216" y="176"/>
                          <a:pt x="216" y="176"/>
                          <a:pt x="216" y="176"/>
                        </a:cubicBezTo>
                        <a:cubicBezTo>
                          <a:pt x="218" y="183"/>
                          <a:pt x="222" y="187"/>
                          <a:pt x="226" y="189"/>
                        </a:cubicBezTo>
                        <a:cubicBezTo>
                          <a:pt x="228" y="189"/>
                          <a:pt x="227" y="185"/>
                          <a:pt x="227" y="185"/>
                        </a:cubicBezTo>
                        <a:cubicBezTo>
                          <a:pt x="224" y="174"/>
                          <a:pt x="224" y="174"/>
                          <a:pt x="224" y="174"/>
                        </a:cubicBezTo>
                        <a:cubicBezTo>
                          <a:pt x="227" y="173"/>
                          <a:pt x="227" y="173"/>
                          <a:pt x="227" y="173"/>
                        </a:cubicBezTo>
                        <a:cubicBezTo>
                          <a:pt x="231" y="187"/>
                          <a:pt x="231" y="187"/>
                          <a:pt x="231" y="187"/>
                        </a:cubicBezTo>
                        <a:cubicBezTo>
                          <a:pt x="232" y="190"/>
                          <a:pt x="235" y="191"/>
                          <a:pt x="238" y="190"/>
                        </a:cubicBezTo>
                        <a:cubicBezTo>
                          <a:pt x="247" y="188"/>
                          <a:pt x="255" y="178"/>
                          <a:pt x="251" y="164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s-ES" sz="200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144" name="Freeform 8">
                    <a:extLst>
                      <a:ext uri="{FF2B5EF4-FFF2-40B4-BE49-F238E27FC236}">
                        <a16:creationId xmlns:a16="http://schemas.microsoft.com/office/drawing/2014/main" id="{8A8FD3DA-7FC6-4230-80E4-1D549C4E5421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195521" y="4895636"/>
                    <a:ext cx="40140" cy="39947"/>
                  </a:xfrm>
                  <a:custGeom>
                    <a:avLst/>
                    <a:gdLst>
                      <a:gd name="T0" fmla="*/ 89 w 89"/>
                      <a:gd name="T1" fmla="*/ 44 h 89"/>
                      <a:gd name="T2" fmla="*/ 44 w 89"/>
                      <a:gd name="T3" fmla="*/ 89 h 89"/>
                      <a:gd name="T4" fmla="*/ 0 w 89"/>
                      <a:gd name="T5" fmla="*/ 44 h 89"/>
                      <a:gd name="T6" fmla="*/ 44 w 89"/>
                      <a:gd name="T7" fmla="*/ 0 h 89"/>
                      <a:gd name="T8" fmla="*/ 89 w 89"/>
                      <a:gd name="T9" fmla="*/ 44 h 89"/>
                      <a:gd name="T10" fmla="*/ 63 w 89"/>
                      <a:gd name="T11" fmla="*/ 54 h 89"/>
                      <a:gd name="T12" fmla="*/ 59 w 89"/>
                      <a:gd name="T13" fmla="*/ 54 h 89"/>
                      <a:gd name="T14" fmla="*/ 44 w 89"/>
                      <a:gd name="T15" fmla="*/ 69 h 89"/>
                      <a:gd name="T16" fmla="*/ 29 w 89"/>
                      <a:gd name="T17" fmla="*/ 54 h 89"/>
                      <a:gd name="T18" fmla="*/ 25 w 89"/>
                      <a:gd name="T19" fmla="*/ 54 h 89"/>
                      <a:gd name="T20" fmla="*/ 44 w 89"/>
                      <a:gd name="T21" fmla="*/ 73 h 89"/>
                      <a:gd name="T22" fmla="*/ 63 w 89"/>
                      <a:gd name="T23" fmla="*/ 54 h 89"/>
                      <a:gd name="T24" fmla="*/ 28 w 89"/>
                      <a:gd name="T25" fmla="*/ 24 h 89"/>
                      <a:gd name="T26" fmla="*/ 21 w 89"/>
                      <a:gd name="T27" fmla="*/ 30 h 89"/>
                      <a:gd name="T28" fmla="*/ 28 w 89"/>
                      <a:gd name="T29" fmla="*/ 37 h 89"/>
                      <a:gd name="T30" fmla="*/ 35 w 89"/>
                      <a:gd name="T31" fmla="*/ 30 h 89"/>
                      <a:gd name="T32" fmla="*/ 28 w 89"/>
                      <a:gd name="T33" fmla="*/ 24 h 89"/>
                      <a:gd name="T34" fmla="*/ 61 w 89"/>
                      <a:gd name="T35" fmla="*/ 24 h 89"/>
                      <a:gd name="T36" fmla="*/ 54 w 89"/>
                      <a:gd name="T37" fmla="*/ 30 h 89"/>
                      <a:gd name="T38" fmla="*/ 61 w 89"/>
                      <a:gd name="T39" fmla="*/ 37 h 89"/>
                      <a:gd name="T40" fmla="*/ 68 w 89"/>
                      <a:gd name="T41" fmla="*/ 30 h 89"/>
                      <a:gd name="T42" fmla="*/ 61 w 89"/>
                      <a:gd name="T43" fmla="*/ 24 h 89"/>
                      <a:gd name="T44" fmla="*/ 46 w 89"/>
                      <a:gd name="T45" fmla="*/ 47 h 89"/>
                      <a:gd name="T46" fmla="*/ 46 w 89"/>
                      <a:gd name="T47" fmla="*/ 31 h 89"/>
                      <a:gd name="T48" fmla="*/ 42 w 89"/>
                      <a:gd name="T49" fmla="*/ 31 h 89"/>
                      <a:gd name="T50" fmla="*/ 42 w 89"/>
                      <a:gd name="T51" fmla="*/ 47 h 89"/>
                      <a:gd name="T52" fmla="*/ 46 w 89"/>
                      <a:gd name="T53" fmla="*/ 47 h 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89" h="89">
                        <a:moveTo>
                          <a:pt x="89" y="44"/>
                        </a:moveTo>
                        <a:cubicBezTo>
                          <a:pt x="89" y="69"/>
                          <a:pt x="69" y="89"/>
                          <a:pt x="44" y="89"/>
                        </a:cubicBezTo>
                        <a:cubicBezTo>
                          <a:pt x="20" y="89"/>
                          <a:pt x="0" y="69"/>
                          <a:pt x="0" y="44"/>
                        </a:cubicBezTo>
                        <a:cubicBezTo>
                          <a:pt x="0" y="20"/>
                          <a:pt x="20" y="0"/>
                          <a:pt x="44" y="0"/>
                        </a:cubicBezTo>
                        <a:cubicBezTo>
                          <a:pt x="69" y="0"/>
                          <a:pt x="89" y="20"/>
                          <a:pt x="89" y="44"/>
                        </a:cubicBezTo>
                        <a:close/>
                        <a:moveTo>
                          <a:pt x="63" y="54"/>
                        </a:moveTo>
                        <a:cubicBezTo>
                          <a:pt x="59" y="54"/>
                          <a:pt x="59" y="54"/>
                          <a:pt x="59" y="54"/>
                        </a:cubicBezTo>
                        <a:cubicBezTo>
                          <a:pt x="59" y="62"/>
                          <a:pt x="53" y="69"/>
                          <a:pt x="44" y="69"/>
                        </a:cubicBezTo>
                        <a:cubicBezTo>
                          <a:pt x="36" y="69"/>
                          <a:pt x="29" y="62"/>
                          <a:pt x="29" y="54"/>
                        </a:cubicBezTo>
                        <a:cubicBezTo>
                          <a:pt x="25" y="54"/>
                          <a:pt x="25" y="54"/>
                          <a:pt x="25" y="54"/>
                        </a:cubicBezTo>
                        <a:cubicBezTo>
                          <a:pt x="25" y="65"/>
                          <a:pt x="34" y="73"/>
                          <a:pt x="44" y="73"/>
                        </a:cubicBezTo>
                        <a:cubicBezTo>
                          <a:pt x="55" y="73"/>
                          <a:pt x="63" y="65"/>
                          <a:pt x="63" y="54"/>
                        </a:cubicBezTo>
                        <a:close/>
                        <a:moveTo>
                          <a:pt x="28" y="24"/>
                        </a:moveTo>
                        <a:cubicBezTo>
                          <a:pt x="24" y="24"/>
                          <a:pt x="21" y="27"/>
                          <a:pt x="21" y="30"/>
                        </a:cubicBezTo>
                        <a:cubicBezTo>
                          <a:pt x="21" y="34"/>
                          <a:pt x="24" y="37"/>
                          <a:pt x="28" y="37"/>
                        </a:cubicBezTo>
                        <a:cubicBezTo>
                          <a:pt x="32" y="37"/>
                          <a:pt x="35" y="34"/>
                          <a:pt x="35" y="30"/>
                        </a:cubicBezTo>
                        <a:cubicBezTo>
                          <a:pt x="35" y="27"/>
                          <a:pt x="32" y="24"/>
                          <a:pt x="28" y="24"/>
                        </a:cubicBezTo>
                        <a:close/>
                        <a:moveTo>
                          <a:pt x="61" y="24"/>
                        </a:moveTo>
                        <a:cubicBezTo>
                          <a:pt x="57" y="24"/>
                          <a:pt x="54" y="27"/>
                          <a:pt x="54" y="30"/>
                        </a:cubicBezTo>
                        <a:cubicBezTo>
                          <a:pt x="54" y="34"/>
                          <a:pt x="57" y="37"/>
                          <a:pt x="61" y="37"/>
                        </a:cubicBezTo>
                        <a:cubicBezTo>
                          <a:pt x="65" y="37"/>
                          <a:pt x="68" y="34"/>
                          <a:pt x="68" y="30"/>
                        </a:cubicBezTo>
                        <a:cubicBezTo>
                          <a:pt x="68" y="27"/>
                          <a:pt x="65" y="24"/>
                          <a:pt x="61" y="24"/>
                        </a:cubicBezTo>
                        <a:close/>
                        <a:moveTo>
                          <a:pt x="46" y="47"/>
                        </a:moveTo>
                        <a:cubicBezTo>
                          <a:pt x="46" y="31"/>
                          <a:pt x="46" y="31"/>
                          <a:pt x="46" y="31"/>
                        </a:cubicBezTo>
                        <a:cubicBezTo>
                          <a:pt x="42" y="31"/>
                          <a:pt x="42" y="31"/>
                          <a:pt x="42" y="31"/>
                        </a:cubicBezTo>
                        <a:cubicBezTo>
                          <a:pt x="42" y="47"/>
                          <a:pt x="42" y="47"/>
                          <a:pt x="42" y="47"/>
                        </a:cubicBezTo>
                        <a:lnTo>
                          <a:pt x="46" y="47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s-ES" sz="200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145" name="Freeform 9">
                    <a:extLst>
                      <a:ext uri="{FF2B5EF4-FFF2-40B4-BE49-F238E27FC236}">
                        <a16:creationId xmlns:a16="http://schemas.microsoft.com/office/drawing/2014/main" id="{A62B132F-B5A1-4073-9B74-BE66DE4C1E7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93641" y="4884003"/>
                    <a:ext cx="43900" cy="21949"/>
                  </a:xfrm>
                  <a:custGeom>
                    <a:avLst/>
                    <a:gdLst>
                      <a:gd name="T0" fmla="*/ 0 w 97"/>
                      <a:gd name="T1" fmla="*/ 49 h 49"/>
                      <a:gd name="T2" fmla="*/ 48 w 97"/>
                      <a:gd name="T3" fmla="*/ 0 h 49"/>
                      <a:gd name="T4" fmla="*/ 97 w 97"/>
                      <a:gd name="T5" fmla="*/ 49 h 49"/>
                      <a:gd name="T6" fmla="*/ 0 w 97"/>
                      <a:gd name="T7" fmla="*/ 49 h 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97" h="49">
                        <a:moveTo>
                          <a:pt x="0" y="49"/>
                        </a:moveTo>
                        <a:cubicBezTo>
                          <a:pt x="0" y="22"/>
                          <a:pt x="22" y="0"/>
                          <a:pt x="48" y="0"/>
                        </a:cubicBezTo>
                        <a:cubicBezTo>
                          <a:pt x="75" y="0"/>
                          <a:pt x="97" y="22"/>
                          <a:pt x="97" y="49"/>
                        </a:cubicBezTo>
                        <a:lnTo>
                          <a:pt x="0" y="49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s-ES" sz="200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146" name="AutoShape 11">
                    <a:extLst>
                      <a:ext uri="{FF2B5EF4-FFF2-40B4-BE49-F238E27FC236}">
                        <a16:creationId xmlns:a16="http://schemas.microsoft.com/office/drawing/2014/main" id="{C077D8B9-92A2-4EF8-9106-92615AF051A4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1028656" y="4884003"/>
                    <a:ext cx="91671" cy="254059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s-ES" sz="200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147" name="Freeform 13">
                    <a:extLst>
                      <a:ext uri="{FF2B5EF4-FFF2-40B4-BE49-F238E27FC236}">
                        <a16:creationId xmlns:a16="http://schemas.microsoft.com/office/drawing/2014/main" id="{D9E6199F-5408-4256-ABAB-31BE4718C88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76316" y="5123686"/>
                    <a:ext cx="24438" cy="14376"/>
                  </a:xfrm>
                  <a:custGeom>
                    <a:avLst/>
                    <a:gdLst>
                      <a:gd name="T0" fmla="*/ 36 w 54"/>
                      <a:gd name="T1" fmla="*/ 32 h 32"/>
                      <a:gd name="T2" fmla="*/ 54 w 54"/>
                      <a:gd name="T3" fmla="*/ 32 h 32"/>
                      <a:gd name="T4" fmla="*/ 53 w 54"/>
                      <a:gd name="T5" fmla="*/ 24 h 32"/>
                      <a:gd name="T6" fmla="*/ 53 w 54"/>
                      <a:gd name="T7" fmla="*/ 23 h 32"/>
                      <a:gd name="T8" fmla="*/ 50 w 54"/>
                      <a:gd name="T9" fmla="*/ 17 h 32"/>
                      <a:gd name="T10" fmla="*/ 27 w 54"/>
                      <a:gd name="T11" fmla="*/ 0 h 32"/>
                      <a:gd name="T12" fmla="*/ 4 w 54"/>
                      <a:gd name="T13" fmla="*/ 17 h 32"/>
                      <a:gd name="T14" fmla="*/ 4 w 54"/>
                      <a:gd name="T15" fmla="*/ 17 h 32"/>
                      <a:gd name="T16" fmla="*/ 1 w 54"/>
                      <a:gd name="T17" fmla="*/ 23 h 32"/>
                      <a:gd name="T18" fmla="*/ 1 w 54"/>
                      <a:gd name="T19" fmla="*/ 24 h 32"/>
                      <a:gd name="T20" fmla="*/ 0 w 54"/>
                      <a:gd name="T21" fmla="*/ 32 h 32"/>
                      <a:gd name="T22" fmla="*/ 18 w 54"/>
                      <a:gd name="T23" fmla="*/ 32 h 32"/>
                      <a:gd name="T24" fmla="*/ 36 w 54"/>
                      <a:gd name="T25" fmla="*/ 32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54" h="32">
                        <a:moveTo>
                          <a:pt x="36" y="32"/>
                        </a:moveTo>
                        <a:cubicBezTo>
                          <a:pt x="54" y="32"/>
                          <a:pt x="54" y="32"/>
                          <a:pt x="54" y="32"/>
                        </a:cubicBezTo>
                        <a:cubicBezTo>
                          <a:pt x="54" y="29"/>
                          <a:pt x="54" y="27"/>
                          <a:pt x="53" y="24"/>
                        </a:cubicBezTo>
                        <a:cubicBezTo>
                          <a:pt x="53" y="24"/>
                          <a:pt x="53" y="24"/>
                          <a:pt x="53" y="23"/>
                        </a:cubicBezTo>
                        <a:cubicBezTo>
                          <a:pt x="52" y="21"/>
                          <a:pt x="51" y="19"/>
                          <a:pt x="50" y="17"/>
                        </a:cubicBezTo>
                        <a:cubicBezTo>
                          <a:pt x="46" y="7"/>
                          <a:pt x="37" y="0"/>
                          <a:pt x="27" y="0"/>
                        </a:cubicBezTo>
                        <a:cubicBezTo>
                          <a:pt x="17" y="0"/>
                          <a:pt x="8" y="7"/>
                          <a:pt x="4" y="17"/>
                        </a:cubicBezTo>
                        <a:cubicBezTo>
                          <a:pt x="4" y="17"/>
                          <a:pt x="4" y="17"/>
                          <a:pt x="4" y="17"/>
                        </a:cubicBezTo>
                        <a:cubicBezTo>
                          <a:pt x="3" y="19"/>
                          <a:pt x="2" y="21"/>
                          <a:pt x="1" y="23"/>
                        </a:cubicBezTo>
                        <a:cubicBezTo>
                          <a:pt x="1" y="24"/>
                          <a:pt x="1" y="24"/>
                          <a:pt x="1" y="24"/>
                        </a:cubicBezTo>
                        <a:cubicBezTo>
                          <a:pt x="0" y="27"/>
                          <a:pt x="0" y="29"/>
                          <a:pt x="0" y="32"/>
                        </a:cubicBezTo>
                        <a:cubicBezTo>
                          <a:pt x="18" y="32"/>
                          <a:pt x="18" y="32"/>
                          <a:pt x="18" y="32"/>
                        </a:cubicBezTo>
                        <a:lnTo>
                          <a:pt x="36" y="32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s-ES" sz="200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148" name="Freeform 14">
                    <a:extLst>
                      <a:ext uri="{FF2B5EF4-FFF2-40B4-BE49-F238E27FC236}">
                        <a16:creationId xmlns:a16="http://schemas.microsoft.com/office/drawing/2014/main" id="{868E3B12-16C9-4C5B-BC70-8F60C179E8F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28656" y="4939534"/>
                    <a:ext cx="91671" cy="189090"/>
                  </a:xfrm>
                  <a:custGeom>
                    <a:avLst/>
                    <a:gdLst>
                      <a:gd name="T0" fmla="*/ 151 w 202"/>
                      <a:gd name="T1" fmla="*/ 0 h 422"/>
                      <a:gd name="T2" fmla="*/ 51 w 202"/>
                      <a:gd name="T3" fmla="*/ 0 h 422"/>
                      <a:gd name="T4" fmla="*/ 0 w 202"/>
                      <a:gd name="T5" fmla="*/ 57 h 422"/>
                      <a:gd name="T6" fmla="*/ 0 w 202"/>
                      <a:gd name="T7" fmla="*/ 193 h 422"/>
                      <a:gd name="T8" fmla="*/ 26 w 202"/>
                      <a:gd name="T9" fmla="*/ 211 h 422"/>
                      <a:gd name="T10" fmla="*/ 27 w 202"/>
                      <a:gd name="T11" fmla="*/ 207 h 422"/>
                      <a:gd name="T12" fmla="*/ 27 w 202"/>
                      <a:gd name="T13" fmla="*/ 193 h 422"/>
                      <a:gd name="T14" fmla="*/ 30 w 202"/>
                      <a:gd name="T15" fmla="*/ 193 h 422"/>
                      <a:gd name="T16" fmla="*/ 30 w 202"/>
                      <a:gd name="T17" fmla="*/ 205 h 422"/>
                      <a:gd name="T18" fmla="*/ 31 w 202"/>
                      <a:gd name="T19" fmla="*/ 207 h 422"/>
                      <a:gd name="T20" fmla="*/ 35 w 202"/>
                      <a:gd name="T21" fmla="*/ 193 h 422"/>
                      <a:gd name="T22" fmla="*/ 35 w 202"/>
                      <a:gd name="T23" fmla="*/ 61 h 422"/>
                      <a:gd name="T24" fmla="*/ 47 w 202"/>
                      <a:gd name="T25" fmla="*/ 61 h 422"/>
                      <a:gd name="T26" fmla="*/ 46 w 202"/>
                      <a:gd name="T27" fmla="*/ 420 h 422"/>
                      <a:gd name="T28" fmla="*/ 47 w 202"/>
                      <a:gd name="T29" fmla="*/ 422 h 422"/>
                      <a:gd name="T30" fmla="*/ 71 w 202"/>
                      <a:gd name="T31" fmla="*/ 407 h 422"/>
                      <a:gd name="T32" fmla="*/ 96 w 202"/>
                      <a:gd name="T33" fmla="*/ 422 h 422"/>
                      <a:gd name="T34" fmla="*/ 96 w 202"/>
                      <a:gd name="T35" fmla="*/ 420 h 422"/>
                      <a:gd name="T36" fmla="*/ 96 w 202"/>
                      <a:gd name="T37" fmla="*/ 212 h 422"/>
                      <a:gd name="T38" fmla="*/ 107 w 202"/>
                      <a:gd name="T39" fmla="*/ 212 h 422"/>
                      <a:gd name="T40" fmla="*/ 107 w 202"/>
                      <a:gd name="T41" fmla="*/ 420 h 422"/>
                      <a:gd name="T42" fmla="*/ 107 w 202"/>
                      <a:gd name="T43" fmla="*/ 422 h 422"/>
                      <a:gd name="T44" fmla="*/ 132 w 202"/>
                      <a:gd name="T45" fmla="*/ 407 h 422"/>
                      <a:gd name="T46" fmla="*/ 157 w 202"/>
                      <a:gd name="T47" fmla="*/ 422 h 422"/>
                      <a:gd name="T48" fmla="*/ 157 w 202"/>
                      <a:gd name="T49" fmla="*/ 420 h 422"/>
                      <a:gd name="T50" fmla="*/ 157 w 202"/>
                      <a:gd name="T51" fmla="*/ 61 h 422"/>
                      <a:gd name="T52" fmla="*/ 168 w 202"/>
                      <a:gd name="T53" fmla="*/ 61 h 422"/>
                      <a:gd name="T54" fmla="*/ 168 w 202"/>
                      <a:gd name="T55" fmla="*/ 193 h 422"/>
                      <a:gd name="T56" fmla="*/ 173 w 202"/>
                      <a:gd name="T57" fmla="*/ 208 h 422"/>
                      <a:gd name="T58" fmla="*/ 174 w 202"/>
                      <a:gd name="T59" fmla="*/ 205 h 422"/>
                      <a:gd name="T60" fmla="*/ 174 w 202"/>
                      <a:gd name="T61" fmla="*/ 193 h 422"/>
                      <a:gd name="T62" fmla="*/ 177 w 202"/>
                      <a:gd name="T63" fmla="*/ 193 h 422"/>
                      <a:gd name="T64" fmla="*/ 177 w 202"/>
                      <a:gd name="T65" fmla="*/ 208 h 422"/>
                      <a:gd name="T66" fmla="*/ 180 w 202"/>
                      <a:gd name="T67" fmla="*/ 212 h 422"/>
                      <a:gd name="T68" fmla="*/ 202 w 202"/>
                      <a:gd name="T69" fmla="*/ 193 h 422"/>
                      <a:gd name="T70" fmla="*/ 202 w 202"/>
                      <a:gd name="T71" fmla="*/ 58 h 422"/>
                      <a:gd name="T72" fmla="*/ 151 w 202"/>
                      <a:gd name="T73" fmla="*/ 0 h 4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202" h="422">
                        <a:moveTo>
                          <a:pt x="151" y="0"/>
                        </a:moveTo>
                        <a:cubicBezTo>
                          <a:pt x="51" y="0"/>
                          <a:pt x="51" y="0"/>
                          <a:pt x="51" y="0"/>
                        </a:cubicBezTo>
                        <a:cubicBezTo>
                          <a:pt x="20" y="0"/>
                          <a:pt x="0" y="25"/>
                          <a:pt x="0" y="57"/>
                        </a:cubicBezTo>
                        <a:cubicBezTo>
                          <a:pt x="0" y="193"/>
                          <a:pt x="0" y="193"/>
                          <a:pt x="0" y="193"/>
                        </a:cubicBezTo>
                        <a:cubicBezTo>
                          <a:pt x="0" y="210"/>
                          <a:pt x="15" y="216"/>
                          <a:pt x="26" y="211"/>
                        </a:cubicBezTo>
                        <a:cubicBezTo>
                          <a:pt x="27" y="210"/>
                          <a:pt x="27" y="209"/>
                          <a:pt x="27" y="207"/>
                        </a:cubicBezTo>
                        <a:cubicBezTo>
                          <a:pt x="27" y="193"/>
                          <a:pt x="27" y="193"/>
                          <a:pt x="27" y="193"/>
                        </a:cubicBezTo>
                        <a:cubicBezTo>
                          <a:pt x="30" y="193"/>
                          <a:pt x="30" y="193"/>
                          <a:pt x="30" y="193"/>
                        </a:cubicBezTo>
                        <a:cubicBezTo>
                          <a:pt x="30" y="205"/>
                          <a:pt x="30" y="205"/>
                          <a:pt x="30" y="205"/>
                        </a:cubicBezTo>
                        <a:cubicBezTo>
                          <a:pt x="30" y="205"/>
                          <a:pt x="30" y="206"/>
                          <a:pt x="31" y="207"/>
                        </a:cubicBezTo>
                        <a:cubicBezTo>
                          <a:pt x="34" y="204"/>
                          <a:pt x="35" y="199"/>
                          <a:pt x="35" y="193"/>
                        </a:cubicBezTo>
                        <a:cubicBezTo>
                          <a:pt x="35" y="61"/>
                          <a:pt x="35" y="61"/>
                          <a:pt x="35" y="61"/>
                        </a:cubicBezTo>
                        <a:cubicBezTo>
                          <a:pt x="47" y="61"/>
                          <a:pt x="47" y="61"/>
                          <a:pt x="47" y="61"/>
                        </a:cubicBezTo>
                        <a:cubicBezTo>
                          <a:pt x="46" y="420"/>
                          <a:pt x="46" y="420"/>
                          <a:pt x="46" y="420"/>
                        </a:cubicBezTo>
                        <a:cubicBezTo>
                          <a:pt x="46" y="420"/>
                          <a:pt x="47" y="421"/>
                          <a:pt x="47" y="422"/>
                        </a:cubicBezTo>
                        <a:cubicBezTo>
                          <a:pt x="52" y="413"/>
                          <a:pt x="61" y="407"/>
                          <a:pt x="71" y="407"/>
                        </a:cubicBezTo>
                        <a:cubicBezTo>
                          <a:pt x="81" y="407"/>
                          <a:pt x="90" y="413"/>
                          <a:pt x="96" y="422"/>
                        </a:cubicBezTo>
                        <a:cubicBezTo>
                          <a:pt x="96" y="421"/>
                          <a:pt x="96" y="421"/>
                          <a:pt x="96" y="420"/>
                        </a:cubicBezTo>
                        <a:cubicBezTo>
                          <a:pt x="96" y="212"/>
                          <a:pt x="96" y="212"/>
                          <a:pt x="96" y="212"/>
                        </a:cubicBezTo>
                        <a:cubicBezTo>
                          <a:pt x="107" y="212"/>
                          <a:pt x="107" y="212"/>
                          <a:pt x="107" y="212"/>
                        </a:cubicBezTo>
                        <a:cubicBezTo>
                          <a:pt x="107" y="420"/>
                          <a:pt x="107" y="420"/>
                          <a:pt x="107" y="420"/>
                        </a:cubicBezTo>
                        <a:cubicBezTo>
                          <a:pt x="107" y="420"/>
                          <a:pt x="107" y="421"/>
                          <a:pt x="107" y="422"/>
                        </a:cubicBezTo>
                        <a:cubicBezTo>
                          <a:pt x="113" y="413"/>
                          <a:pt x="122" y="407"/>
                          <a:pt x="132" y="407"/>
                        </a:cubicBezTo>
                        <a:cubicBezTo>
                          <a:pt x="142" y="407"/>
                          <a:pt x="151" y="413"/>
                          <a:pt x="157" y="422"/>
                        </a:cubicBezTo>
                        <a:cubicBezTo>
                          <a:pt x="157" y="421"/>
                          <a:pt x="157" y="420"/>
                          <a:pt x="157" y="420"/>
                        </a:cubicBezTo>
                        <a:cubicBezTo>
                          <a:pt x="157" y="61"/>
                          <a:pt x="157" y="61"/>
                          <a:pt x="157" y="61"/>
                        </a:cubicBezTo>
                        <a:cubicBezTo>
                          <a:pt x="168" y="61"/>
                          <a:pt x="168" y="61"/>
                          <a:pt x="168" y="61"/>
                        </a:cubicBezTo>
                        <a:cubicBezTo>
                          <a:pt x="168" y="193"/>
                          <a:pt x="168" y="193"/>
                          <a:pt x="168" y="193"/>
                        </a:cubicBezTo>
                        <a:cubicBezTo>
                          <a:pt x="168" y="200"/>
                          <a:pt x="170" y="205"/>
                          <a:pt x="173" y="208"/>
                        </a:cubicBezTo>
                        <a:cubicBezTo>
                          <a:pt x="174" y="207"/>
                          <a:pt x="174" y="205"/>
                          <a:pt x="174" y="205"/>
                        </a:cubicBezTo>
                        <a:cubicBezTo>
                          <a:pt x="174" y="193"/>
                          <a:pt x="174" y="193"/>
                          <a:pt x="174" y="193"/>
                        </a:cubicBezTo>
                        <a:cubicBezTo>
                          <a:pt x="177" y="193"/>
                          <a:pt x="177" y="193"/>
                          <a:pt x="177" y="193"/>
                        </a:cubicBezTo>
                        <a:cubicBezTo>
                          <a:pt x="177" y="208"/>
                          <a:pt x="177" y="208"/>
                          <a:pt x="177" y="208"/>
                        </a:cubicBezTo>
                        <a:cubicBezTo>
                          <a:pt x="177" y="210"/>
                          <a:pt x="178" y="211"/>
                          <a:pt x="180" y="212"/>
                        </a:cubicBezTo>
                        <a:cubicBezTo>
                          <a:pt x="190" y="215"/>
                          <a:pt x="202" y="209"/>
                          <a:pt x="202" y="193"/>
                        </a:cubicBezTo>
                        <a:cubicBezTo>
                          <a:pt x="202" y="58"/>
                          <a:pt x="202" y="58"/>
                          <a:pt x="202" y="58"/>
                        </a:cubicBezTo>
                        <a:cubicBezTo>
                          <a:pt x="202" y="29"/>
                          <a:pt x="185" y="0"/>
                          <a:pt x="151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s-ES" sz="200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149" name="Freeform 15">
                    <a:extLst>
                      <a:ext uri="{FF2B5EF4-FFF2-40B4-BE49-F238E27FC236}">
                        <a16:creationId xmlns:a16="http://schemas.microsoft.com/office/drawing/2014/main" id="{8B38D7AB-B082-4674-B68A-25815FBEA11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48671" y="5123686"/>
                    <a:ext cx="24880" cy="14376"/>
                  </a:xfrm>
                  <a:custGeom>
                    <a:avLst/>
                    <a:gdLst>
                      <a:gd name="T0" fmla="*/ 36 w 55"/>
                      <a:gd name="T1" fmla="*/ 32 h 32"/>
                      <a:gd name="T2" fmla="*/ 55 w 55"/>
                      <a:gd name="T3" fmla="*/ 32 h 32"/>
                      <a:gd name="T4" fmla="*/ 53 w 55"/>
                      <a:gd name="T5" fmla="*/ 24 h 32"/>
                      <a:gd name="T6" fmla="*/ 53 w 55"/>
                      <a:gd name="T7" fmla="*/ 23 h 32"/>
                      <a:gd name="T8" fmla="*/ 51 w 55"/>
                      <a:gd name="T9" fmla="*/ 17 h 32"/>
                      <a:gd name="T10" fmla="*/ 27 w 55"/>
                      <a:gd name="T11" fmla="*/ 0 h 32"/>
                      <a:gd name="T12" fmla="*/ 4 w 55"/>
                      <a:gd name="T13" fmla="*/ 17 h 32"/>
                      <a:gd name="T14" fmla="*/ 1 w 55"/>
                      <a:gd name="T15" fmla="*/ 23 h 32"/>
                      <a:gd name="T16" fmla="*/ 1 w 55"/>
                      <a:gd name="T17" fmla="*/ 24 h 32"/>
                      <a:gd name="T18" fmla="*/ 0 w 55"/>
                      <a:gd name="T19" fmla="*/ 32 h 32"/>
                      <a:gd name="T20" fmla="*/ 18 w 55"/>
                      <a:gd name="T21" fmla="*/ 32 h 32"/>
                      <a:gd name="T22" fmla="*/ 36 w 55"/>
                      <a:gd name="T23" fmla="*/ 32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55" h="32">
                        <a:moveTo>
                          <a:pt x="36" y="32"/>
                        </a:moveTo>
                        <a:cubicBezTo>
                          <a:pt x="55" y="32"/>
                          <a:pt x="55" y="32"/>
                          <a:pt x="55" y="32"/>
                        </a:cubicBezTo>
                        <a:cubicBezTo>
                          <a:pt x="54" y="29"/>
                          <a:pt x="54" y="27"/>
                          <a:pt x="53" y="24"/>
                        </a:cubicBezTo>
                        <a:cubicBezTo>
                          <a:pt x="53" y="24"/>
                          <a:pt x="53" y="24"/>
                          <a:pt x="53" y="23"/>
                        </a:cubicBezTo>
                        <a:cubicBezTo>
                          <a:pt x="53" y="21"/>
                          <a:pt x="52" y="19"/>
                          <a:pt x="51" y="17"/>
                        </a:cubicBezTo>
                        <a:cubicBezTo>
                          <a:pt x="46" y="7"/>
                          <a:pt x="37" y="0"/>
                          <a:pt x="27" y="0"/>
                        </a:cubicBezTo>
                        <a:cubicBezTo>
                          <a:pt x="17" y="0"/>
                          <a:pt x="9" y="7"/>
                          <a:pt x="4" y="17"/>
                        </a:cubicBezTo>
                        <a:cubicBezTo>
                          <a:pt x="3" y="19"/>
                          <a:pt x="2" y="21"/>
                          <a:pt x="1" y="23"/>
                        </a:cubicBezTo>
                        <a:cubicBezTo>
                          <a:pt x="1" y="24"/>
                          <a:pt x="1" y="24"/>
                          <a:pt x="1" y="24"/>
                        </a:cubicBezTo>
                        <a:cubicBezTo>
                          <a:pt x="1" y="27"/>
                          <a:pt x="0" y="29"/>
                          <a:pt x="0" y="32"/>
                        </a:cubicBezTo>
                        <a:cubicBezTo>
                          <a:pt x="18" y="32"/>
                          <a:pt x="18" y="32"/>
                          <a:pt x="18" y="32"/>
                        </a:cubicBezTo>
                        <a:lnTo>
                          <a:pt x="36" y="32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s-ES" sz="200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150" name="Freeform 16">
                    <a:extLst>
                      <a:ext uri="{FF2B5EF4-FFF2-40B4-BE49-F238E27FC236}">
                        <a16:creationId xmlns:a16="http://schemas.microsoft.com/office/drawing/2014/main" id="{837E4B83-B985-4C6D-A7EC-E30AF189F15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054532" y="4895636"/>
                    <a:ext cx="40362" cy="39947"/>
                  </a:xfrm>
                  <a:custGeom>
                    <a:avLst/>
                    <a:gdLst>
                      <a:gd name="T0" fmla="*/ 89 w 89"/>
                      <a:gd name="T1" fmla="*/ 44 h 89"/>
                      <a:gd name="T2" fmla="*/ 44 w 89"/>
                      <a:gd name="T3" fmla="*/ 89 h 89"/>
                      <a:gd name="T4" fmla="*/ 0 w 89"/>
                      <a:gd name="T5" fmla="*/ 44 h 89"/>
                      <a:gd name="T6" fmla="*/ 44 w 89"/>
                      <a:gd name="T7" fmla="*/ 0 h 89"/>
                      <a:gd name="T8" fmla="*/ 89 w 89"/>
                      <a:gd name="T9" fmla="*/ 44 h 89"/>
                      <a:gd name="T10" fmla="*/ 63 w 89"/>
                      <a:gd name="T11" fmla="*/ 54 h 89"/>
                      <a:gd name="T12" fmla="*/ 59 w 89"/>
                      <a:gd name="T13" fmla="*/ 54 h 89"/>
                      <a:gd name="T14" fmla="*/ 44 w 89"/>
                      <a:gd name="T15" fmla="*/ 69 h 89"/>
                      <a:gd name="T16" fmla="*/ 29 w 89"/>
                      <a:gd name="T17" fmla="*/ 54 h 89"/>
                      <a:gd name="T18" fmla="*/ 25 w 89"/>
                      <a:gd name="T19" fmla="*/ 54 h 89"/>
                      <a:gd name="T20" fmla="*/ 44 w 89"/>
                      <a:gd name="T21" fmla="*/ 73 h 89"/>
                      <a:gd name="T22" fmla="*/ 63 w 89"/>
                      <a:gd name="T23" fmla="*/ 54 h 89"/>
                      <a:gd name="T24" fmla="*/ 28 w 89"/>
                      <a:gd name="T25" fmla="*/ 24 h 89"/>
                      <a:gd name="T26" fmla="*/ 21 w 89"/>
                      <a:gd name="T27" fmla="*/ 30 h 89"/>
                      <a:gd name="T28" fmla="*/ 28 w 89"/>
                      <a:gd name="T29" fmla="*/ 37 h 89"/>
                      <a:gd name="T30" fmla="*/ 35 w 89"/>
                      <a:gd name="T31" fmla="*/ 30 h 89"/>
                      <a:gd name="T32" fmla="*/ 28 w 89"/>
                      <a:gd name="T33" fmla="*/ 24 h 89"/>
                      <a:gd name="T34" fmla="*/ 61 w 89"/>
                      <a:gd name="T35" fmla="*/ 24 h 89"/>
                      <a:gd name="T36" fmla="*/ 54 w 89"/>
                      <a:gd name="T37" fmla="*/ 30 h 89"/>
                      <a:gd name="T38" fmla="*/ 61 w 89"/>
                      <a:gd name="T39" fmla="*/ 37 h 89"/>
                      <a:gd name="T40" fmla="*/ 68 w 89"/>
                      <a:gd name="T41" fmla="*/ 30 h 89"/>
                      <a:gd name="T42" fmla="*/ 61 w 89"/>
                      <a:gd name="T43" fmla="*/ 24 h 89"/>
                      <a:gd name="T44" fmla="*/ 46 w 89"/>
                      <a:gd name="T45" fmla="*/ 47 h 89"/>
                      <a:gd name="T46" fmla="*/ 46 w 89"/>
                      <a:gd name="T47" fmla="*/ 31 h 89"/>
                      <a:gd name="T48" fmla="*/ 42 w 89"/>
                      <a:gd name="T49" fmla="*/ 31 h 89"/>
                      <a:gd name="T50" fmla="*/ 42 w 89"/>
                      <a:gd name="T51" fmla="*/ 47 h 89"/>
                      <a:gd name="T52" fmla="*/ 46 w 89"/>
                      <a:gd name="T53" fmla="*/ 47 h 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89" h="89">
                        <a:moveTo>
                          <a:pt x="89" y="44"/>
                        </a:moveTo>
                        <a:cubicBezTo>
                          <a:pt x="89" y="69"/>
                          <a:pt x="69" y="89"/>
                          <a:pt x="44" y="89"/>
                        </a:cubicBezTo>
                        <a:cubicBezTo>
                          <a:pt x="20" y="89"/>
                          <a:pt x="0" y="69"/>
                          <a:pt x="0" y="44"/>
                        </a:cubicBezTo>
                        <a:cubicBezTo>
                          <a:pt x="0" y="20"/>
                          <a:pt x="20" y="0"/>
                          <a:pt x="44" y="0"/>
                        </a:cubicBezTo>
                        <a:cubicBezTo>
                          <a:pt x="69" y="0"/>
                          <a:pt x="89" y="20"/>
                          <a:pt x="89" y="44"/>
                        </a:cubicBezTo>
                        <a:close/>
                        <a:moveTo>
                          <a:pt x="63" y="54"/>
                        </a:moveTo>
                        <a:cubicBezTo>
                          <a:pt x="59" y="54"/>
                          <a:pt x="59" y="54"/>
                          <a:pt x="59" y="54"/>
                        </a:cubicBezTo>
                        <a:cubicBezTo>
                          <a:pt x="59" y="62"/>
                          <a:pt x="53" y="69"/>
                          <a:pt x="44" y="69"/>
                        </a:cubicBezTo>
                        <a:cubicBezTo>
                          <a:pt x="36" y="69"/>
                          <a:pt x="29" y="62"/>
                          <a:pt x="29" y="54"/>
                        </a:cubicBezTo>
                        <a:cubicBezTo>
                          <a:pt x="25" y="54"/>
                          <a:pt x="25" y="54"/>
                          <a:pt x="25" y="54"/>
                        </a:cubicBezTo>
                        <a:cubicBezTo>
                          <a:pt x="25" y="65"/>
                          <a:pt x="34" y="73"/>
                          <a:pt x="44" y="73"/>
                        </a:cubicBezTo>
                        <a:cubicBezTo>
                          <a:pt x="55" y="73"/>
                          <a:pt x="63" y="65"/>
                          <a:pt x="63" y="54"/>
                        </a:cubicBezTo>
                        <a:close/>
                        <a:moveTo>
                          <a:pt x="28" y="24"/>
                        </a:moveTo>
                        <a:cubicBezTo>
                          <a:pt x="24" y="24"/>
                          <a:pt x="21" y="27"/>
                          <a:pt x="21" y="30"/>
                        </a:cubicBezTo>
                        <a:cubicBezTo>
                          <a:pt x="21" y="34"/>
                          <a:pt x="24" y="37"/>
                          <a:pt x="28" y="37"/>
                        </a:cubicBezTo>
                        <a:cubicBezTo>
                          <a:pt x="32" y="37"/>
                          <a:pt x="35" y="34"/>
                          <a:pt x="35" y="30"/>
                        </a:cubicBezTo>
                        <a:cubicBezTo>
                          <a:pt x="35" y="27"/>
                          <a:pt x="32" y="24"/>
                          <a:pt x="28" y="24"/>
                        </a:cubicBezTo>
                        <a:close/>
                        <a:moveTo>
                          <a:pt x="61" y="24"/>
                        </a:moveTo>
                        <a:cubicBezTo>
                          <a:pt x="57" y="24"/>
                          <a:pt x="54" y="27"/>
                          <a:pt x="54" y="30"/>
                        </a:cubicBezTo>
                        <a:cubicBezTo>
                          <a:pt x="54" y="34"/>
                          <a:pt x="57" y="37"/>
                          <a:pt x="61" y="37"/>
                        </a:cubicBezTo>
                        <a:cubicBezTo>
                          <a:pt x="65" y="37"/>
                          <a:pt x="68" y="34"/>
                          <a:pt x="68" y="30"/>
                        </a:cubicBezTo>
                        <a:cubicBezTo>
                          <a:pt x="68" y="27"/>
                          <a:pt x="65" y="24"/>
                          <a:pt x="61" y="24"/>
                        </a:cubicBezTo>
                        <a:close/>
                        <a:moveTo>
                          <a:pt x="46" y="47"/>
                        </a:moveTo>
                        <a:cubicBezTo>
                          <a:pt x="46" y="31"/>
                          <a:pt x="46" y="31"/>
                          <a:pt x="46" y="31"/>
                        </a:cubicBezTo>
                        <a:cubicBezTo>
                          <a:pt x="42" y="31"/>
                          <a:pt x="42" y="31"/>
                          <a:pt x="42" y="31"/>
                        </a:cubicBezTo>
                        <a:cubicBezTo>
                          <a:pt x="42" y="47"/>
                          <a:pt x="42" y="47"/>
                          <a:pt x="42" y="47"/>
                        </a:cubicBezTo>
                        <a:lnTo>
                          <a:pt x="46" y="47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s-ES" sz="200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151" name="Freeform 17">
                    <a:extLst>
                      <a:ext uri="{FF2B5EF4-FFF2-40B4-BE49-F238E27FC236}">
                        <a16:creationId xmlns:a16="http://schemas.microsoft.com/office/drawing/2014/main" id="{9EE019BC-9ECC-453C-9119-0B0AD2DB709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52652" y="4884003"/>
                    <a:ext cx="44121" cy="21949"/>
                  </a:xfrm>
                  <a:custGeom>
                    <a:avLst/>
                    <a:gdLst>
                      <a:gd name="T0" fmla="*/ 0 w 97"/>
                      <a:gd name="T1" fmla="*/ 49 h 49"/>
                      <a:gd name="T2" fmla="*/ 48 w 97"/>
                      <a:gd name="T3" fmla="*/ 0 h 49"/>
                      <a:gd name="T4" fmla="*/ 97 w 97"/>
                      <a:gd name="T5" fmla="*/ 49 h 49"/>
                      <a:gd name="T6" fmla="*/ 0 w 97"/>
                      <a:gd name="T7" fmla="*/ 49 h 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97" h="49">
                        <a:moveTo>
                          <a:pt x="0" y="49"/>
                        </a:moveTo>
                        <a:cubicBezTo>
                          <a:pt x="0" y="22"/>
                          <a:pt x="22" y="0"/>
                          <a:pt x="48" y="0"/>
                        </a:cubicBezTo>
                        <a:cubicBezTo>
                          <a:pt x="75" y="0"/>
                          <a:pt x="97" y="22"/>
                          <a:pt x="97" y="49"/>
                        </a:cubicBezTo>
                        <a:lnTo>
                          <a:pt x="0" y="49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s-ES" sz="2000">
                      <a:solidFill>
                        <a:srgbClr val="000000"/>
                      </a:solidFill>
                      <a:latin typeface="Arial"/>
                      <a:cs typeface="Arial"/>
                    </a:endParaRPr>
                  </a:p>
                </p:txBody>
              </p:sp>
            </p:grpSp>
          </p:grpSp>
          <p:grpSp>
            <p:nvGrpSpPr>
              <p:cNvPr id="105" name="Gruppieren 90">
                <a:extLst>
                  <a:ext uri="{FF2B5EF4-FFF2-40B4-BE49-F238E27FC236}">
                    <a16:creationId xmlns:a16="http://schemas.microsoft.com/office/drawing/2014/main" id="{A1559BA8-DF24-41B1-8B93-41190EEE45F5}"/>
                  </a:ext>
                </a:extLst>
              </p:cNvPr>
              <p:cNvGrpSpPr/>
              <p:nvPr/>
            </p:nvGrpSpPr>
            <p:grpSpPr>
              <a:xfrm>
                <a:off x="549275" y="3630613"/>
                <a:ext cx="354013" cy="350837"/>
                <a:chOff x="549275" y="3630613"/>
                <a:chExt cx="354013" cy="350837"/>
              </a:xfrm>
            </p:grpSpPr>
            <p:sp>
              <p:nvSpPr>
                <p:cNvPr id="136" name="Oval 5">
                  <a:extLst>
                    <a:ext uri="{FF2B5EF4-FFF2-40B4-BE49-F238E27FC236}">
                      <a16:creationId xmlns:a16="http://schemas.microsoft.com/office/drawing/2014/main" id="{B405DDAB-7D15-4DE2-8E3C-6D7B47B86F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9275" y="3630613"/>
                  <a:ext cx="354013" cy="350837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sz="2000"/>
                </a:p>
              </p:txBody>
            </p:sp>
            <p:sp>
              <p:nvSpPr>
                <p:cNvPr id="137" name="Freeform 6">
                  <a:extLst>
                    <a:ext uri="{FF2B5EF4-FFF2-40B4-BE49-F238E27FC236}">
                      <a16:creationId xmlns:a16="http://schemas.microsoft.com/office/drawing/2014/main" id="{00E3FF10-E6C3-4754-9FAE-8E707A22592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5638" y="3659188"/>
                  <a:ext cx="139700" cy="292100"/>
                </a:xfrm>
                <a:custGeom>
                  <a:avLst/>
                  <a:gdLst>
                    <a:gd name="T0" fmla="*/ 69 w 207"/>
                    <a:gd name="T1" fmla="*/ 369 h 434"/>
                    <a:gd name="T2" fmla="*/ 135 w 207"/>
                    <a:gd name="T3" fmla="*/ 369 h 434"/>
                    <a:gd name="T4" fmla="*/ 135 w 207"/>
                    <a:gd name="T5" fmla="*/ 397 h 434"/>
                    <a:gd name="T6" fmla="*/ 112 w 207"/>
                    <a:gd name="T7" fmla="*/ 429 h 434"/>
                    <a:gd name="T8" fmla="*/ 102 w 207"/>
                    <a:gd name="T9" fmla="*/ 433 h 434"/>
                    <a:gd name="T10" fmla="*/ 93 w 207"/>
                    <a:gd name="T11" fmla="*/ 429 h 434"/>
                    <a:gd name="T12" fmla="*/ 69 w 207"/>
                    <a:gd name="T13" fmla="*/ 397 h 434"/>
                    <a:gd name="T14" fmla="*/ 69 w 207"/>
                    <a:gd name="T15" fmla="*/ 369 h 434"/>
                    <a:gd name="T16" fmla="*/ 171 w 207"/>
                    <a:gd name="T17" fmla="*/ 221 h 434"/>
                    <a:gd name="T18" fmla="*/ 112 w 207"/>
                    <a:gd name="T19" fmla="*/ 221 h 434"/>
                    <a:gd name="T20" fmla="*/ 95 w 207"/>
                    <a:gd name="T21" fmla="*/ 221 h 434"/>
                    <a:gd name="T22" fmla="*/ 36 w 207"/>
                    <a:gd name="T23" fmla="*/ 221 h 434"/>
                    <a:gd name="T24" fmla="*/ 31 w 207"/>
                    <a:gd name="T25" fmla="*/ 226 h 434"/>
                    <a:gd name="T26" fmla="*/ 31 w 207"/>
                    <a:gd name="T27" fmla="*/ 285 h 434"/>
                    <a:gd name="T28" fmla="*/ 34 w 207"/>
                    <a:gd name="T29" fmla="*/ 315 h 434"/>
                    <a:gd name="T30" fmla="*/ 62 w 207"/>
                    <a:gd name="T31" fmla="*/ 352 h 434"/>
                    <a:gd name="T32" fmla="*/ 62 w 207"/>
                    <a:gd name="T33" fmla="*/ 356 h 434"/>
                    <a:gd name="T34" fmla="*/ 67 w 207"/>
                    <a:gd name="T35" fmla="*/ 361 h 434"/>
                    <a:gd name="T36" fmla="*/ 95 w 207"/>
                    <a:gd name="T37" fmla="*/ 361 h 434"/>
                    <a:gd name="T38" fmla="*/ 112 w 207"/>
                    <a:gd name="T39" fmla="*/ 361 h 434"/>
                    <a:gd name="T40" fmla="*/ 140 w 207"/>
                    <a:gd name="T41" fmla="*/ 361 h 434"/>
                    <a:gd name="T42" fmla="*/ 145 w 207"/>
                    <a:gd name="T43" fmla="*/ 356 h 434"/>
                    <a:gd name="T44" fmla="*/ 145 w 207"/>
                    <a:gd name="T45" fmla="*/ 351 h 434"/>
                    <a:gd name="T46" fmla="*/ 173 w 207"/>
                    <a:gd name="T47" fmla="*/ 315 h 434"/>
                    <a:gd name="T48" fmla="*/ 176 w 207"/>
                    <a:gd name="T49" fmla="*/ 285 h 434"/>
                    <a:gd name="T50" fmla="*/ 176 w 207"/>
                    <a:gd name="T51" fmla="*/ 226 h 434"/>
                    <a:gd name="T52" fmla="*/ 171 w 207"/>
                    <a:gd name="T53" fmla="*/ 221 h 434"/>
                    <a:gd name="T54" fmla="*/ 69 w 207"/>
                    <a:gd name="T55" fmla="*/ 214 h 434"/>
                    <a:gd name="T56" fmla="*/ 102 w 207"/>
                    <a:gd name="T57" fmla="*/ 214 h 434"/>
                    <a:gd name="T58" fmla="*/ 102 w 207"/>
                    <a:gd name="T59" fmla="*/ 205 h 434"/>
                    <a:gd name="T60" fmla="*/ 69 w 207"/>
                    <a:gd name="T61" fmla="*/ 153 h 434"/>
                    <a:gd name="T62" fmla="*/ 166 w 207"/>
                    <a:gd name="T63" fmla="*/ 128 h 434"/>
                    <a:gd name="T64" fmla="*/ 194 w 207"/>
                    <a:gd name="T65" fmla="*/ 108 h 434"/>
                    <a:gd name="T66" fmla="*/ 163 w 207"/>
                    <a:gd name="T67" fmla="*/ 93 h 434"/>
                    <a:gd name="T68" fmla="*/ 25 w 207"/>
                    <a:gd name="T69" fmla="*/ 133 h 434"/>
                    <a:gd name="T70" fmla="*/ 51 w 207"/>
                    <a:gd name="T71" fmla="*/ 187 h 434"/>
                    <a:gd name="T72" fmla="*/ 69 w 207"/>
                    <a:gd name="T73" fmla="*/ 214 h 434"/>
                    <a:gd name="T74" fmla="*/ 31 w 207"/>
                    <a:gd name="T75" fmla="*/ 82 h 434"/>
                    <a:gd name="T76" fmla="*/ 24 w 207"/>
                    <a:gd name="T77" fmla="*/ 120 h 434"/>
                    <a:gd name="T78" fmla="*/ 84 w 207"/>
                    <a:gd name="T79" fmla="*/ 92 h 434"/>
                    <a:gd name="T80" fmla="*/ 176 w 207"/>
                    <a:gd name="T81" fmla="*/ 79 h 434"/>
                    <a:gd name="T82" fmla="*/ 190 w 207"/>
                    <a:gd name="T83" fmla="*/ 63 h 434"/>
                    <a:gd name="T84" fmla="*/ 140 w 207"/>
                    <a:gd name="T85" fmla="*/ 48 h 434"/>
                    <a:gd name="T86" fmla="*/ 31 w 207"/>
                    <a:gd name="T87" fmla="*/ 82 h 434"/>
                    <a:gd name="T88" fmla="*/ 185 w 207"/>
                    <a:gd name="T89" fmla="*/ 139 h 434"/>
                    <a:gd name="T90" fmla="*/ 135 w 207"/>
                    <a:gd name="T91" fmla="*/ 153 h 434"/>
                    <a:gd name="T92" fmla="*/ 115 w 207"/>
                    <a:gd name="T93" fmla="*/ 214 h 434"/>
                    <a:gd name="T94" fmla="*/ 147 w 207"/>
                    <a:gd name="T95" fmla="*/ 214 h 434"/>
                    <a:gd name="T96" fmla="*/ 185 w 207"/>
                    <a:gd name="T97" fmla="*/ 168 h 434"/>
                    <a:gd name="T98" fmla="*/ 185 w 207"/>
                    <a:gd name="T99" fmla="*/ 139 h 434"/>
                    <a:gd name="T100" fmla="*/ 25 w 207"/>
                    <a:gd name="T101" fmla="*/ 71 h 434"/>
                    <a:gd name="T102" fmla="*/ 120 w 207"/>
                    <a:gd name="T103" fmla="*/ 37 h 434"/>
                    <a:gd name="T104" fmla="*/ 145 w 207"/>
                    <a:gd name="T105" fmla="*/ 22 h 434"/>
                    <a:gd name="T106" fmla="*/ 114 w 207"/>
                    <a:gd name="T107" fmla="*/ 4 h 434"/>
                    <a:gd name="T108" fmla="*/ 25 w 207"/>
                    <a:gd name="T109" fmla="*/ 42 h 434"/>
                    <a:gd name="T110" fmla="*/ 25 w 207"/>
                    <a:gd name="T111" fmla="*/ 71 h 4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07" h="434">
                      <a:moveTo>
                        <a:pt x="69" y="369"/>
                      </a:moveTo>
                      <a:cubicBezTo>
                        <a:pt x="135" y="369"/>
                        <a:pt x="135" y="369"/>
                        <a:pt x="135" y="369"/>
                      </a:cubicBezTo>
                      <a:cubicBezTo>
                        <a:pt x="135" y="397"/>
                        <a:pt x="135" y="397"/>
                        <a:pt x="135" y="397"/>
                      </a:cubicBezTo>
                      <a:cubicBezTo>
                        <a:pt x="135" y="412"/>
                        <a:pt x="125" y="425"/>
                        <a:pt x="112" y="429"/>
                      </a:cubicBezTo>
                      <a:cubicBezTo>
                        <a:pt x="112" y="434"/>
                        <a:pt x="107" y="433"/>
                        <a:pt x="102" y="433"/>
                      </a:cubicBezTo>
                      <a:cubicBezTo>
                        <a:pt x="97" y="433"/>
                        <a:pt x="93" y="434"/>
                        <a:pt x="93" y="429"/>
                      </a:cubicBezTo>
                      <a:cubicBezTo>
                        <a:pt x="79" y="425"/>
                        <a:pt x="69" y="412"/>
                        <a:pt x="69" y="397"/>
                      </a:cubicBezTo>
                      <a:lnTo>
                        <a:pt x="69" y="369"/>
                      </a:lnTo>
                      <a:close/>
                      <a:moveTo>
                        <a:pt x="171" y="221"/>
                      </a:moveTo>
                      <a:cubicBezTo>
                        <a:pt x="112" y="221"/>
                        <a:pt x="112" y="221"/>
                        <a:pt x="112" y="221"/>
                      </a:cubicBezTo>
                      <a:cubicBezTo>
                        <a:pt x="95" y="221"/>
                        <a:pt x="95" y="221"/>
                        <a:pt x="95" y="221"/>
                      </a:cubicBezTo>
                      <a:cubicBezTo>
                        <a:pt x="36" y="221"/>
                        <a:pt x="36" y="221"/>
                        <a:pt x="36" y="221"/>
                      </a:cubicBezTo>
                      <a:cubicBezTo>
                        <a:pt x="33" y="221"/>
                        <a:pt x="31" y="224"/>
                        <a:pt x="31" y="226"/>
                      </a:cubicBezTo>
                      <a:cubicBezTo>
                        <a:pt x="31" y="285"/>
                        <a:pt x="31" y="285"/>
                        <a:pt x="31" y="285"/>
                      </a:cubicBezTo>
                      <a:cubicBezTo>
                        <a:pt x="31" y="285"/>
                        <a:pt x="32" y="314"/>
                        <a:pt x="34" y="315"/>
                      </a:cubicBezTo>
                      <a:cubicBezTo>
                        <a:pt x="38" y="331"/>
                        <a:pt x="49" y="344"/>
                        <a:pt x="62" y="352"/>
                      </a:cubicBezTo>
                      <a:cubicBezTo>
                        <a:pt x="62" y="356"/>
                        <a:pt x="62" y="356"/>
                        <a:pt x="62" y="356"/>
                      </a:cubicBezTo>
                      <a:cubicBezTo>
                        <a:pt x="62" y="359"/>
                        <a:pt x="65" y="361"/>
                        <a:pt x="67" y="361"/>
                      </a:cubicBezTo>
                      <a:cubicBezTo>
                        <a:pt x="95" y="361"/>
                        <a:pt x="95" y="361"/>
                        <a:pt x="95" y="361"/>
                      </a:cubicBezTo>
                      <a:cubicBezTo>
                        <a:pt x="112" y="361"/>
                        <a:pt x="112" y="361"/>
                        <a:pt x="112" y="361"/>
                      </a:cubicBezTo>
                      <a:cubicBezTo>
                        <a:pt x="140" y="361"/>
                        <a:pt x="140" y="361"/>
                        <a:pt x="140" y="361"/>
                      </a:cubicBezTo>
                      <a:cubicBezTo>
                        <a:pt x="143" y="361"/>
                        <a:pt x="145" y="359"/>
                        <a:pt x="145" y="356"/>
                      </a:cubicBezTo>
                      <a:cubicBezTo>
                        <a:pt x="145" y="351"/>
                        <a:pt x="145" y="351"/>
                        <a:pt x="145" y="351"/>
                      </a:cubicBezTo>
                      <a:cubicBezTo>
                        <a:pt x="158" y="343"/>
                        <a:pt x="168" y="330"/>
                        <a:pt x="173" y="315"/>
                      </a:cubicBezTo>
                      <a:cubicBezTo>
                        <a:pt x="174" y="314"/>
                        <a:pt x="176" y="285"/>
                        <a:pt x="176" y="285"/>
                      </a:cubicBezTo>
                      <a:cubicBezTo>
                        <a:pt x="176" y="226"/>
                        <a:pt x="176" y="226"/>
                        <a:pt x="176" y="226"/>
                      </a:cubicBezTo>
                      <a:cubicBezTo>
                        <a:pt x="176" y="224"/>
                        <a:pt x="173" y="221"/>
                        <a:pt x="171" y="221"/>
                      </a:cubicBezTo>
                      <a:moveTo>
                        <a:pt x="69" y="214"/>
                      </a:moveTo>
                      <a:cubicBezTo>
                        <a:pt x="102" y="214"/>
                        <a:pt x="102" y="214"/>
                        <a:pt x="102" y="214"/>
                      </a:cubicBezTo>
                      <a:cubicBezTo>
                        <a:pt x="102" y="205"/>
                        <a:pt x="102" y="205"/>
                        <a:pt x="102" y="205"/>
                      </a:cubicBezTo>
                      <a:cubicBezTo>
                        <a:pt x="96" y="156"/>
                        <a:pt x="62" y="163"/>
                        <a:pt x="69" y="153"/>
                      </a:cubicBezTo>
                      <a:cubicBezTo>
                        <a:pt x="77" y="144"/>
                        <a:pt x="130" y="137"/>
                        <a:pt x="166" y="128"/>
                      </a:cubicBezTo>
                      <a:cubicBezTo>
                        <a:pt x="201" y="120"/>
                        <a:pt x="194" y="108"/>
                        <a:pt x="194" y="108"/>
                      </a:cubicBezTo>
                      <a:cubicBezTo>
                        <a:pt x="194" y="108"/>
                        <a:pt x="187" y="93"/>
                        <a:pt x="163" y="93"/>
                      </a:cubicBezTo>
                      <a:cubicBezTo>
                        <a:pt x="138" y="92"/>
                        <a:pt x="51" y="115"/>
                        <a:pt x="25" y="133"/>
                      </a:cubicBezTo>
                      <a:cubicBezTo>
                        <a:pt x="0" y="151"/>
                        <a:pt x="28" y="178"/>
                        <a:pt x="51" y="187"/>
                      </a:cubicBezTo>
                      <a:cubicBezTo>
                        <a:pt x="73" y="195"/>
                        <a:pt x="69" y="214"/>
                        <a:pt x="69" y="214"/>
                      </a:cubicBezTo>
                      <a:moveTo>
                        <a:pt x="31" y="82"/>
                      </a:moveTo>
                      <a:cubicBezTo>
                        <a:pt x="10" y="96"/>
                        <a:pt x="24" y="120"/>
                        <a:pt x="24" y="120"/>
                      </a:cubicBezTo>
                      <a:cubicBezTo>
                        <a:pt x="24" y="120"/>
                        <a:pt x="67" y="96"/>
                        <a:pt x="84" y="92"/>
                      </a:cubicBezTo>
                      <a:cubicBezTo>
                        <a:pt x="101" y="89"/>
                        <a:pt x="154" y="84"/>
                        <a:pt x="176" y="79"/>
                      </a:cubicBezTo>
                      <a:cubicBezTo>
                        <a:pt x="197" y="74"/>
                        <a:pt x="190" y="63"/>
                        <a:pt x="190" y="63"/>
                      </a:cubicBezTo>
                      <a:cubicBezTo>
                        <a:pt x="190" y="63"/>
                        <a:pt x="194" y="39"/>
                        <a:pt x="140" y="48"/>
                      </a:cubicBezTo>
                      <a:cubicBezTo>
                        <a:pt x="86" y="57"/>
                        <a:pt x="31" y="82"/>
                        <a:pt x="31" y="82"/>
                      </a:cubicBezTo>
                      <a:moveTo>
                        <a:pt x="185" y="139"/>
                      </a:moveTo>
                      <a:cubicBezTo>
                        <a:pt x="185" y="139"/>
                        <a:pt x="163" y="137"/>
                        <a:pt x="135" y="153"/>
                      </a:cubicBezTo>
                      <a:cubicBezTo>
                        <a:pt x="108" y="170"/>
                        <a:pt x="115" y="214"/>
                        <a:pt x="115" y="214"/>
                      </a:cubicBezTo>
                      <a:cubicBezTo>
                        <a:pt x="147" y="214"/>
                        <a:pt x="147" y="214"/>
                        <a:pt x="147" y="214"/>
                      </a:cubicBezTo>
                      <a:cubicBezTo>
                        <a:pt x="158" y="167"/>
                        <a:pt x="164" y="184"/>
                        <a:pt x="185" y="168"/>
                      </a:cubicBezTo>
                      <a:cubicBezTo>
                        <a:pt x="207" y="152"/>
                        <a:pt x="185" y="139"/>
                        <a:pt x="185" y="139"/>
                      </a:cubicBezTo>
                      <a:moveTo>
                        <a:pt x="25" y="71"/>
                      </a:moveTo>
                      <a:cubicBezTo>
                        <a:pt x="42" y="54"/>
                        <a:pt x="104" y="39"/>
                        <a:pt x="120" y="37"/>
                      </a:cubicBezTo>
                      <a:cubicBezTo>
                        <a:pt x="137" y="35"/>
                        <a:pt x="144" y="29"/>
                        <a:pt x="145" y="22"/>
                      </a:cubicBezTo>
                      <a:cubicBezTo>
                        <a:pt x="146" y="16"/>
                        <a:pt x="148" y="0"/>
                        <a:pt x="114" y="4"/>
                      </a:cubicBezTo>
                      <a:cubicBezTo>
                        <a:pt x="80" y="8"/>
                        <a:pt x="42" y="29"/>
                        <a:pt x="25" y="42"/>
                      </a:cubicBezTo>
                      <a:cubicBezTo>
                        <a:pt x="8" y="56"/>
                        <a:pt x="25" y="71"/>
                        <a:pt x="25" y="71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sz="2000"/>
                </a:p>
              </p:txBody>
            </p:sp>
          </p:grpSp>
          <p:grpSp>
            <p:nvGrpSpPr>
              <p:cNvPr id="106" name="Gruppieren 91">
                <a:extLst>
                  <a:ext uri="{FF2B5EF4-FFF2-40B4-BE49-F238E27FC236}">
                    <a16:creationId xmlns:a16="http://schemas.microsoft.com/office/drawing/2014/main" id="{6DCB7E25-6A31-45E5-A3CF-2F882F78C799}"/>
                  </a:ext>
                </a:extLst>
              </p:cNvPr>
              <p:cNvGrpSpPr/>
              <p:nvPr/>
            </p:nvGrpSpPr>
            <p:grpSpPr>
              <a:xfrm>
                <a:off x="973138" y="3630613"/>
                <a:ext cx="354012" cy="350837"/>
                <a:chOff x="973138" y="3630613"/>
                <a:chExt cx="354012" cy="350837"/>
              </a:xfrm>
            </p:grpSpPr>
            <p:sp>
              <p:nvSpPr>
                <p:cNvPr id="134" name="Oval 10">
                  <a:extLst>
                    <a:ext uri="{FF2B5EF4-FFF2-40B4-BE49-F238E27FC236}">
                      <a16:creationId xmlns:a16="http://schemas.microsoft.com/office/drawing/2014/main" id="{73AF3ED9-8DCC-46C8-BD92-CFB79CEB972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73138" y="3630613"/>
                  <a:ext cx="354012" cy="350837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sz="2000"/>
                </a:p>
              </p:txBody>
            </p:sp>
            <p:sp>
              <p:nvSpPr>
                <p:cNvPr id="135" name="Freeform 11">
                  <a:extLst>
                    <a:ext uri="{FF2B5EF4-FFF2-40B4-BE49-F238E27FC236}">
                      <a16:creationId xmlns:a16="http://schemas.microsoft.com/office/drawing/2014/main" id="{FF2DBC8A-B660-4954-853C-D7D702D67B4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77913" y="3654425"/>
                  <a:ext cx="142875" cy="303212"/>
                </a:xfrm>
                <a:custGeom>
                  <a:avLst/>
                  <a:gdLst>
                    <a:gd name="T0" fmla="*/ 215 w 215"/>
                    <a:gd name="T1" fmla="*/ 354 h 461"/>
                    <a:gd name="T2" fmla="*/ 108 w 215"/>
                    <a:gd name="T3" fmla="*/ 461 h 461"/>
                    <a:gd name="T4" fmla="*/ 0 w 215"/>
                    <a:gd name="T5" fmla="*/ 354 h 461"/>
                    <a:gd name="T6" fmla="*/ 16 w 215"/>
                    <a:gd name="T7" fmla="*/ 298 h 461"/>
                    <a:gd name="T8" fmla="*/ 16 w 215"/>
                    <a:gd name="T9" fmla="*/ 298 h 461"/>
                    <a:gd name="T10" fmla="*/ 18 w 215"/>
                    <a:gd name="T11" fmla="*/ 295 h 461"/>
                    <a:gd name="T12" fmla="*/ 19 w 215"/>
                    <a:gd name="T13" fmla="*/ 293 h 461"/>
                    <a:gd name="T14" fmla="*/ 107 w 215"/>
                    <a:gd name="T15" fmla="*/ 0 h 461"/>
                    <a:gd name="T16" fmla="*/ 109 w 215"/>
                    <a:gd name="T17" fmla="*/ 0 h 461"/>
                    <a:gd name="T18" fmla="*/ 196 w 215"/>
                    <a:gd name="T19" fmla="*/ 293 h 461"/>
                    <a:gd name="T20" fmla="*/ 198 w 215"/>
                    <a:gd name="T21" fmla="*/ 295 h 461"/>
                    <a:gd name="T22" fmla="*/ 199 w 215"/>
                    <a:gd name="T23" fmla="*/ 298 h 461"/>
                    <a:gd name="T24" fmla="*/ 199 w 215"/>
                    <a:gd name="T25" fmla="*/ 298 h 461"/>
                    <a:gd name="T26" fmla="*/ 215 w 215"/>
                    <a:gd name="T27" fmla="*/ 354 h 461"/>
                    <a:gd name="T28" fmla="*/ 181 w 215"/>
                    <a:gd name="T29" fmla="*/ 339 h 461"/>
                    <a:gd name="T30" fmla="*/ 167 w 215"/>
                    <a:gd name="T31" fmla="*/ 371 h 461"/>
                    <a:gd name="T32" fmla="*/ 148 w 215"/>
                    <a:gd name="T33" fmla="*/ 395 h 461"/>
                    <a:gd name="T34" fmla="*/ 123 w 215"/>
                    <a:gd name="T35" fmla="*/ 415 h 461"/>
                    <a:gd name="T36" fmla="*/ 91 w 215"/>
                    <a:gd name="T37" fmla="*/ 429 h 461"/>
                    <a:gd name="T38" fmla="*/ 129 w 215"/>
                    <a:gd name="T39" fmla="*/ 429 h 461"/>
                    <a:gd name="T40" fmla="*/ 161 w 215"/>
                    <a:gd name="T41" fmla="*/ 409 h 461"/>
                    <a:gd name="T42" fmla="*/ 181 w 215"/>
                    <a:gd name="T43" fmla="*/ 376 h 461"/>
                    <a:gd name="T44" fmla="*/ 181 w 215"/>
                    <a:gd name="T45" fmla="*/ 339 h 4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15" h="461">
                      <a:moveTo>
                        <a:pt x="215" y="354"/>
                      </a:moveTo>
                      <a:cubicBezTo>
                        <a:pt x="215" y="413"/>
                        <a:pt x="167" y="461"/>
                        <a:pt x="108" y="461"/>
                      </a:cubicBezTo>
                      <a:cubicBezTo>
                        <a:pt x="48" y="461"/>
                        <a:pt x="0" y="413"/>
                        <a:pt x="0" y="354"/>
                      </a:cubicBezTo>
                      <a:cubicBezTo>
                        <a:pt x="0" y="333"/>
                        <a:pt x="6" y="314"/>
                        <a:pt x="16" y="298"/>
                      </a:cubicBezTo>
                      <a:cubicBezTo>
                        <a:pt x="16" y="298"/>
                        <a:pt x="16" y="298"/>
                        <a:pt x="16" y="298"/>
                      </a:cubicBezTo>
                      <a:cubicBezTo>
                        <a:pt x="16" y="297"/>
                        <a:pt x="17" y="296"/>
                        <a:pt x="18" y="295"/>
                      </a:cubicBezTo>
                      <a:cubicBezTo>
                        <a:pt x="18" y="295"/>
                        <a:pt x="19" y="294"/>
                        <a:pt x="19" y="293"/>
                      </a:cubicBezTo>
                      <a:cubicBezTo>
                        <a:pt x="52" y="242"/>
                        <a:pt x="99" y="145"/>
                        <a:pt x="107" y="0"/>
                      </a:cubicBezTo>
                      <a:cubicBezTo>
                        <a:pt x="109" y="0"/>
                        <a:pt x="109" y="0"/>
                        <a:pt x="109" y="0"/>
                      </a:cubicBezTo>
                      <a:cubicBezTo>
                        <a:pt x="116" y="145"/>
                        <a:pt x="163" y="242"/>
                        <a:pt x="196" y="293"/>
                      </a:cubicBezTo>
                      <a:cubicBezTo>
                        <a:pt x="197" y="294"/>
                        <a:pt x="197" y="295"/>
                        <a:pt x="198" y="295"/>
                      </a:cubicBezTo>
                      <a:cubicBezTo>
                        <a:pt x="198" y="296"/>
                        <a:pt x="199" y="297"/>
                        <a:pt x="199" y="298"/>
                      </a:cubicBezTo>
                      <a:cubicBezTo>
                        <a:pt x="199" y="298"/>
                        <a:pt x="199" y="298"/>
                        <a:pt x="199" y="298"/>
                      </a:cubicBezTo>
                      <a:cubicBezTo>
                        <a:pt x="209" y="314"/>
                        <a:pt x="215" y="333"/>
                        <a:pt x="215" y="354"/>
                      </a:cubicBezTo>
                      <a:moveTo>
                        <a:pt x="181" y="339"/>
                      </a:moveTo>
                      <a:cubicBezTo>
                        <a:pt x="176" y="351"/>
                        <a:pt x="172" y="361"/>
                        <a:pt x="167" y="371"/>
                      </a:cubicBezTo>
                      <a:cubicBezTo>
                        <a:pt x="161" y="380"/>
                        <a:pt x="155" y="388"/>
                        <a:pt x="148" y="395"/>
                      </a:cubicBezTo>
                      <a:cubicBezTo>
                        <a:pt x="140" y="403"/>
                        <a:pt x="132" y="409"/>
                        <a:pt x="123" y="415"/>
                      </a:cubicBezTo>
                      <a:cubicBezTo>
                        <a:pt x="113" y="420"/>
                        <a:pt x="103" y="424"/>
                        <a:pt x="91" y="429"/>
                      </a:cubicBezTo>
                      <a:cubicBezTo>
                        <a:pt x="103" y="433"/>
                        <a:pt x="116" y="432"/>
                        <a:pt x="129" y="429"/>
                      </a:cubicBezTo>
                      <a:cubicBezTo>
                        <a:pt x="141" y="425"/>
                        <a:pt x="152" y="419"/>
                        <a:pt x="161" y="409"/>
                      </a:cubicBezTo>
                      <a:cubicBezTo>
                        <a:pt x="171" y="400"/>
                        <a:pt x="177" y="389"/>
                        <a:pt x="181" y="376"/>
                      </a:cubicBezTo>
                      <a:cubicBezTo>
                        <a:pt x="184" y="364"/>
                        <a:pt x="185" y="351"/>
                        <a:pt x="181" y="33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sz="2000"/>
                </a:p>
              </p:txBody>
            </p:sp>
          </p:grpSp>
          <p:grpSp>
            <p:nvGrpSpPr>
              <p:cNvPr id="107" name="Gruppieren 92">
                <a:extLst>
                  <a:ext uri="{FF2B5EF4-FFF2-40B4-BE49-F238E27FC236}">
                    <a16:creationId xmlns:a16="http://schemas.microsoft.com/office/drawing/2014/main" id="{435ABA96-81DB-466A-B404-DE69EEDA27C1}"/>
                  </a:ext>
                </a:extLst>
              </p:cNvPr>
              <p:cNvGrpSpPr/>
              <p:nvPr/>
            </p:nvGrpSpPr>
            <p:grpSpPr>
              <a:xfrm>
                <a:off x="549275" y="4032250"/>
                <a:ext cx="354013" cy="350838"/>
                <a:chOff x="549275" y="4032250"/>
                <a:chExt cx="354013" cy="350838"/>
              </a:xfrm>
            </p:grpSpPr>
            <p:sp>
              <p:nvSpPr>
                <p:cNvPr id="130" name="Oval 15">
                  <a:extLst>
                    <a:ext uri="{FF2B5EF4-FFF2-40B4-BE49-F238E27FC236}">
                      <a16:creationId xmlns:a16="http://schemas.microsoft.com/office/drawing/2014/main" id="{DCAB88A0-24DA-4429-B0F5-D4997078B7F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9275" y="4032250"/>
                  <a:ext cx="354013" cy="35083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sz="2000"/>
                </a:p>
              </p:txBody>
            </p:sp>
            <p:sp>
              <p:nvSpPr>
                <p:cNvPr id="131" name="Freeform 16">
                  <a:extLst>
                    <a:ext uri="{FF2B5EF4-FFF2-40B4-BE49-F238E27FC236}">
                      <a16:creationId xmlns:a16="http://schemas.microsoft.com/office/drawing/2014/main" id="{A7766CC8-98DC-4148-AAF3-B11A5714F8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4838" y="4233863"/>
                  <a:ext cx="69850" cy="85725"/>
                </a:xfrm>
                <a:custGeom>
                  <a:avLst/>
                  <a:gdLst>
                    <a:gd name="T0" fmla="*/ 107 w 118"/>
                    <a:gd name="T1" fmla="*/ 133 h 147"/>
                    <a:gd name="T2" fmla="*/ 107 w 118"/>
                    <a:gd name="T3" fmla="*/ 108 h 147"/>
                    <a:gd name="T4" fmla="*/ 87 w 118"/>
                    <a:gd name="T5" fmla="*/ 97 h 147"/>
                    <a:gd name="T6" fmla="*/ 74 w 118"/>
                    <a:gd name="T7" fmla="*/ 75 h 147"/>
                    <a:gd name="T8" fmla="*/ 73 w 118"/>
                    <a:gd name="T9" fmla="*/ 45 h 147"/>
                    <a:gd name="T10" fmla="*/ 77 w 118"/>
                    <a:gd name="T11" fmla="*/ 37 h 147"/>
                    <a:gd name="T12" fmla="*/ 73 w 118"/>
                    <a:gd name="T13" fmla="*/ 32 h 147"/>
                    <a:gd name="T14" fmla="*/ 58 w 118"/>
                    <a:gd name="T15" fmla="*/ 28 h 147"/>
                    <a:gd name="T16" fmla="*/ 53 w 118"/>
                    <a:gd name="T17" fmla="*/ 23 h 147"/>
                    <a:gd name="T18" fmla="*/ 33 w 118"/>
                    <a:gd name="T19" fmla="*/ 15 h 147"/>
                    <a:gd name="T20" fmla="*/ 8 w 118"/>
                    <a:gd name="T21" fmla="*/ 8 h 147"/>
                    <a:gd name="T22" fmla="*/ 0 w 118"/>
                    <a:gd name="T23" fmla="*/ 1 h 147"/>
                    <a:gd name="T24" fmla="*/ 0 w 118"/>
                    <a:gd name="T25" fmla="*/ 0 h 147"/>
                    <a:gd name="T26" fmla="*/ 118 w 118"/>
                    <a:gd name="T27" fmla="*/ 147 h 147"/>
                    <a:gd name="T28" fmla="*/ 107 w 118"/>
                    <a:gd name="T29" fmla="*/ 133 h 1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8" h="147">
                      <a:moveTo>
                        <a:pt x="107" y="133"/>
                      </a:moveTo>
                      <a:cubicBezTo>
                        <a:pt x="107" y="108"/>
                        <a:pt x="107" y="108"/>
                        <a:pt x="107" y="108"/>
                      </a:cubicBezTo>
                      <a:cubicBezTo>
                        <a:pt x="87" y="97"/>
                        <a:pt x="87" y="97"/>
                        <a:pt x="87" y="97"/>
                      </a:cubicBezTo>
                      <a:cubicBezTo>
                        <a:pt x="74" y="75"/>
                        <a:pt x="74" y="75"/>
                        <a:pt x="74" y="75"/>
                      </a:cubicBezTo>
                      <a:cubicBezTo>
                        <a:pt x="73" y="45"/>
                        <a:pt x="73" y="45"/>
                        <a:pt x="73" y="45"/>
                      </a:cubicBezTo>
                      <a:cubicBezTo>
                        <a:pt x="77" y="37"/>
                        <a:pt x="77" y="37"/>
                        <a:pt x="77" y="37"/>
                      </a:cubicBezTo>
                      <a:cubicBezTo>
                        <a:pt x="73" y="32"/>
                        <a:pt x="73" y="32"/>
                        <a:pt x="73" y="32"/>
                      </a:cubicBezTo>
                      <a:cubicBezTo>
                        <a:pt x="58" y="28"/>
                        <a:pt x="58" y="28"/>
                        <a:pt x="58" y="28"/>
                      </a:cubicBezTo>
                      <a:cubicBezTo>
                        <a:pt x="53" y="23"/>
                        <a:pt x="53" y="23"/>
                        <a:pt x="53" y="23"/>
                      </a:cubicBez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8" y="8"/>
                        <a:pt x="8" y="8"/>
                        <a:pt x="8" y="8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0"/>
                        <a:pt x="0" y="0"/>
                      </a:cubicBezTo>
                      <a:cubicBezTo>
                        <a:pt x="14" y="65"/>
                        <a:pt x="58" y="119"/>
                        <a:pt x="118" y="147"/>
                      </a:cubicBezTo>
                      <a:lnTo>
                        <a:pt x="107" y="1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sz="2000"/>
                </a:p>
              </p:txBody>
            </p:sp>
            <p:sp>
              <p:nvSpPr>
                <p:cNvPr id="132" name="Freeform 17">
                  <a:extLst>
                    <a:ext uri="{FF2B5EF4-FFF2-40B4-BE49-F238E27FC236}">
                      <a16:creationId xmlns:a16="http://schemas.microsoft.com/office/drawing/2014/main" id="{7127217D-E868-4117-9B40-34158266F6E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09600" y="4084638"/>
                  <a:ext cx="239713" cy="246063"/>
                </a:xfrm>
                <a:custGeom>
                  <a:avLst/>
                  <a:gdLst>
                    <a:gd name="T0" fmla="*/ 385 w 410"/>
                    <a:gd name="T1" fmla="*/ 215 h 423"/>
                    <a:gd name="T2" fmla="*/ 361 w 410"/>
                    <a:gd name="T3" fmla="*/ 199 h 423"/>
                    <a:gd name="T4" fmla="*/ 322 w 410"/>
                    <a:gd name="T5" fmla="*/ 189 h 423"/>
                    <a:gd name="T6" fmla="*/ 311 w 410"/>
                    <a:gd name="T7" fmla="*/ 199 h 423"/>
                    <a:gd name="T8" fmla="*/ 299 w 410"/>
                    <a:gd name="T9" fmla="*/ 230 h 423"/>
                    <a:gd name="T10" fmla="*/ 271 w 410"/>
                    <a:gd name="T11" fmla="*/ 209 h 423"/>
                    <a:gd name="T12" fmla="*/ 300 w 410"/>
                    <a:gd name="T13" fmla="*/ 283 h 423"/>
                    <a:gd name="T14" fmla="*/ 290 w 410"/>
                    <a:gd name="T15" fmla="*/ 353 h 423"/>
                    <a:gd name="T16" fmla="*/ 242 w 410"/>
                    <a:gd name="T17" fmla="*/ 323 h 423"/>
                    <a:gd name="T18" fmla="*/ 220 w 410"/>
                    <a:gd name="T19" fmla="*/ 272 h 423"/>
                    <a:gd name="T20" fmla="*/ 165 w 410"/>
                    <a:gd name="T21" fmla="*/ 252 h 423"/>
                    <a:gd name="T22" fmla="*/ 174 w 410"/>
                    <a:gd name="T23" fmla="*/ 197 h 423"/>
                    <a:gd name="T24" fmla="*/ 204 w 410"/>
                    <a:gd name="T25" fmla="*/ 179 h 423"/>
                    <a:gd name="T26" fmla="*/ 242 w 410"/>
                    <a:gd name="T27" fmla="*/ 186 h 423"/>
                    <a:gd name="T28" fmla="*/ 262 w 410"/>
                    <a:gd name="T29" fmla="*/ 152 h 423"/>
                    <a:gd name="T30" fmla="*/ 274 w 410"/>
                    <a:gd name="T31" fmla="*/ 134 h 423"/>
                    <a:gd name="T32" fmla="*/ 253 w 410"/>
                    <a:gd name="T33" fmla="*/ 156 h 423"/>
                    <a:gd name="T34" fmla="*/ 225 w 410"/>
                    <a:gd name="T35" fmla="*/ 157 h 423"/>
                    <a:gd name="T36" fmla="*/ 208 w 410"/>
                    <a:gd name="T37" fmla="*/ 155 h 423"/>
                    <a:gd name="T38" fmla="*/ 170 w 410"/>
                    <a:gd name="T39" fmla="*/ 179 h 423"/>
                    <a:gd name="T40" fmla="*/ 191 w 410"/>
                    <a:gd name="T41" fmla="*/ 135 h 423"/>
                    <a:gd name="T42" fmla="*/ 207 w 410"/>
                    <a:gd name="T43" fmla="*/ 121 h 423"/>
                    <a:gd name="T44" fmla="*/ 225 w 410"/>
                    <a:gd name="T45" fmla="*/ 82 h 423"/>
                    <a:gd name="T46" fmla="*/ 197 w 410"/>
                    <a:gd name="T47" fmla="*/ 108 h 423"/>
                    <a:gd name="T48" fmla="*/ 244 w 410"/>
                    <a:gd name="T49" fmla="*/ 51 h 423"/>
                    <a:gd name="T50" fmla="*/ 262 w 410"/>
                    <a:gd name="T51" fmla="*/ 74 h 423"/>
                    <a:gd name="T52" fmla="*/ 284 w 410"/>
                    <a:gd name="T53" fmla="*/ 61 h 423"/>
                    <a:gd name="T54" fmla="*/ 318 w 410"/>
                    <a:gd name="T55" fmla="*/ 37 h 423"/>
                    <a:gd name="T56" fmla="*/ 151 w 410"/>
                    <a:gd name="T57" fmla="*/ 19 h 423"/>
                    <a:gd name="T58" fmla="*/ 158 w 410"/>
                    <a:gd name="T59" fmla="*/ 34 h 423"/>
                    <a:gd name="T60" fmla="*/ 162 w 410"/>
                    <a:gd name="T61" fmla="*/ 64 h 423"/>
                    <a:gd name="T62" fmla="*/ 131 w 410"/>
                    <a:gd name="T63" fmla="*/ 90 h 423"/>
                    <a:gd name="T64" fmla="*/ 95 w 410"/>
                    <a:gd name="T65" fmla="*/ 94 h 423"/>
                    <a:gd name="T66" fmla="*/ 96 w 410"/>
                    <a:gd name="T67" fmla="*/ 72 h 423"/>
                    <a:gd name="T68" fmla="*/ 60 w 410"/>
                    <a:gd name="T69" fmla="*/ 52 h 423"/>
                    <a:gd name="T70" fmla="*/ 20 w 410"/>
                    <a:gd name="T71" fmla="*/ 142 h 423"/>
                    <a:gd name="T72" fmla="*/ 48 w 410"/>
                    <a:gd name="T73" fmla="*/ 138 h 423"/>
                    <a:gd name="T74" fmla="*/ 61 w 410"/>
                    <a:gd name="T75" fmla="*/ 128 h 423"/>
                    <a:gd name="T76" fmla="*/ 90 w 410"/>
                    <a:gd name="T77" fmla="*/ 159 h 423"/>
                    <a:gd name="T78" fmla="*/ 79 w 410"/>
                    <a:gd name="T79" fmla="*/ 182 h 423"/>
                    <a:gd name="T80" fmla="*/ 61 w 410"/>
                    <a:gd name="T81" fmla="*/ 211 h 423"/>
                    <a:gd name="T82" fmla="*/ 42 w 410"/>
                    <a:gd name="T83" fmla="*/ 234 h 423"/>
                    <a:gd name="T84" fmla="*/ 29 w 410"/>
                    <a:gd name="T85" fmla="*/ 265 h 423"/>
                    <a:gd name="T86" fmla="*/ 48 w 410"/>
                    <a:gd name="T87" fmla="*/ 268 h 423"/>
                    <a:gd name="T88" fmla="*/ 74 w 410"/>
                    <a:gd name="T89" fmla="*/ 281 h 423"/>
                    <a:gd name="T90" fmla="*/ 166 w 410"/>
                    <a:gd name="T91" fmla="*/ 311 h 423"/>
                    <a:gd name="T92" fmla="*/ 138 w 410"/>
                    <a:gd name="T93" fmla="*/ 414 h 423"/>
                    <a:gd name="T94" fmla="*/ 146 w 410"/>
                    <a:gd name="T95" fmla="*/ 129 h 423"/>
                    <a:gd name="T96" fmla="*/ 154 w 410"/>
                    <a:gd name="T97" fmla="*/ 158 h 4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10" h="423">
                      <a:moveTo>
                        <a:pt x="410" y="205"/>
                      </a:moveTo>
                      <a:cubicBezTo>
                        <a:pt x="406" y="202"/>
                        <a:pt x="406" y="202"/>
                        <a:pt x="406" y="202"/>
                      </a:cubicBezTo>
                      <a:cubicBezTo>
                        <a:pt x="398" y="203"/>
                        <a:pt x="398" y="203"/>
                        <a:pt x="398" y="203"/>
                      </a:cubicBezTo>
                      <a:cubicBezTo>
                        <a:pt x="385" y="215"/>
                        <a:pt x="385" y="215"/>
                        <a:pt x="385" y="215"/>
                      </a:cubicBezTo>
                      <a:cubicBezTo>
                        <a:pt x="382" y="225"/>
                        <a:pt x="382" y="225"/>
                        <a:pt x="382" y="225"/>
                      </a:cubicBezTo>
                      <a:cubicBezTo>
                        <a:pt x="381" y="234"/>
                        <a:pt x="381" y="234"/>
                        <a:pt x="381" y="234"/>
                      </a:cubicBezTo>
                      <a:cubicBezTo>
                        <a:pt x="367" y="218"/>
                        <a:pt x="367" y="218"/>
                        <a:pt x="367" y="218"/>
                      </a:cubicBezTo>
                      <a:cubicBezTo>
                        <a:pt x="361" y="199"/>
                        <a:pt x="361" y="199"/>
                        <a:pt x="361" y="199"/>
                      </a:cubicBezTo>
                      <a:cubicBezTo>
                        <a:pt x="355" y="199"/>
                        <a:pt x="355" y="199"/>
                        <a:pt x="355" y="199"/>
                      </a:cubicBezTo>
                      <a:cubicBezTo>
                        <a:pt x="345" y="190"/>
                        <a:pt x="345" y="190"/>
                        <a:pt x="345" y="190"/>
                      </a:cubicBezTo>
                      <a:cubicBezTo>
                        <a:pt x="333" y="192"/>
                        <a:pt x="333" y="192"/>
                        <a:pt x="333" y="192"/>
                      </a:cubicBezTo>
                      <a:cubicBezTo>
                        <a:pt x="322" y="189"/>
                        <a:pt x="322" y="189"/>
                        <a:pt x="322" y="189"/>
                      </a:cubicBezTo>
                      <a:cubicBezTo>
                        <a:pt x="310" y="188"/>
                        <a:pt x="310" y="188"/>
                        <a:pt x="310" y="188"/>
                      </a:cubicBezTo>
                      <a:cubicBezTo>
                        <a:pt x="303" y="181"/>
                        <a:pt x="303" y="181"/>
                        <a:pt x="303" y="181"/>
                      </a:cubicBezTo>
                      <a:cubicBezTo>
                        <a:pt x="297" y="184"/>
                        <a:pt x="297" y="184"/>
                        <a:pt x="297" y="184"/>
                      </a:cubicBezTo>
                      <a:cubicBezTo>
                        <a:pt x="311" y="199"/>
                        <a:pt x="311" y="199"/>
                        <a:pt x="311" y="199"/>
                      </a:cubicBezTo>
                      <a:cubicBezTo>
                        <a:pt x="324" y="197"/>
                        <a:pt x="324" y="197"/>
                        <a:pt x="324" y="197"/>
                      </a:cubicBezTo>
                      <a:cubicBezTo>
                        <a:pt x="330" y="206"/>
                        <a:pt x="330" y="206"/>
                        <a:pt x="330" y="206"/>
                      </a:cubicBezTo>
                      <a:cubicBezTo>
                        <a:pt x="320" y="222"/>
                        <a:pt x="320" y="222"/>
                        <a:pt x="320" y="222"/>
                      </a:cubicBezTo>
                      <a:cubicBezTo>
                        <a:pt x="299" y="230"/>
                        <a:pt x="299" y="230"/>
                        <a:pt x="299" y="230"/>
                      </a:cubicBezTo>
                      <a:cubicBezTo>
                        <a:pt x="291" y="216"/>
                        <a:pt x="291" y="216"/>
                        <a:pt x="291" y="216"/>
                      </a:cubicBezTo>
                      <a:cubicBezTo>
                        <a:pt x="279" y="205"/>
                        <a:pt x="279" y="205"/>
                        <a:pt x="279" y="205"/>
                      </a:cubicBezTo>
                      <a:cubicBezTo>
                        <a:pt x="271" y="193"/>
                        <a:pt x="271" y="193"/>
                        <a:pt x="271" y="193"/>
                      </a:cubicBezTo>
                      <a:cubicBezTo>
                        <a:pt x="271" y="209"/>
                        <a:pt x="271" y="209"/>
                        <a:pt x="271" y="209"/>
                      </a:cubicBezTo>
                      <a:cubicBezTo>
                        <a:pt x="300" y="239"/>
                        <a:pt x="300" y="239"/>
                        <a:pt x="300" y="239"/>
                      </a:cubicBezTo>
                      <a:cubicBezTo>
                        <a:pt x="315" y="234"/>
                        <a:pt x="315" y="234"/>
                        <a:pt x="315" y="234"/>
                      </a:cubicBezTo>
                      <a:cubicBezTo>
                        <a:pt x="316" y="246"/>
                        <a:pt x="316" y="246"/>
                        <a:pt x="316" y="246"/>
                      </a:cubicBezTo>
                      <a:cubicBezTo>
                        <a:pt x="300" y="283"/>
                        <a:pt x="300" y="283"/>
                        <a:pt x="300" y="283"/>
                      </a:cubicBezTo>
                      <a:cubicBezTo>
                        <a:pt x="302" y="317"/>
                        <a:pt x="302" y="317"/>
                        <a:pt x="302" y="317"/>
                      </a:cubicBezTo>
                      <a:cubicBezTo>
                        <a:pt x="291" y="323"/>
                        <a:pt x="291" y="323"/>
                        <a:pt x="291" y="323"/>
                      </a:cubicBezTo>
                      <a:cubicBezTo>
                        <a:pt x="298" y="340"/>
                        <a:pt x="298" y="340"/>
                        <a:pt x="298" y="340"/>
                      </a:cubicBezTo>
                      <a:cubicBezTo>
                        <a:pt x="290" y="353"/>
                        <a:pt x="290" y="353"/>
                        <a:pt x="290" y="353"/>
                      </a:cubicBezTo>
                      <a:cubicBezTo>
                        <a:pt x="279" y="373"/>
                        <a:pt x="279" y="373"/>
                        <a:pt x="279" y="373"/>
                      </a:cubicBezTo>
                      <a:cubicBezTo>
                        <a:pt x="262" y="379"/>
                        <a:pt x="262" y="379"/>
                        <a:pt x="262" y="379"/>
                      </a:cubicBezTo>
                      <a:cubicBezTo>
                        <a:pt x="253" y="347"/>
                        <a:pt x="253" y="347"/>
                        <a:pt x="253" y="347"/>
                      </a:cubicBezTo>
                      <a:cubicBezTo>
                        <a:pt x="242" y="323"/>
                        <a:pt x="242" y="323"/>
                        <a:pt x="242" y="323"/>
                      </a:cubicBezTo>
                      <a:cubicBezTo>
                        <a:pt x="242" y="306"/>
                        <a:pt x="242" y="306"/>
                        <a:pt x="242" y="306"/>
                      </a:cubicBezTo>
                      <a:cubicBezTo>
                        <a:pt x="227" y="283"/>
                        <a:pt x="227" y="283"/>
                        <a:pt x="227" y="283"/>
                      </a:cubicBezTo>
                      <a:cubicBezTo>
                        <a:pt x="228" y="270"/>
                        <a:pt x="228" y="270"/>
                        <a:pt x="228" y="270"/>
                      </a:cubicBezTo>
                      <a:cubicBezTo>
                        <a:pt x="220" y="272"/>
                        <a:pt x="220" y="272"/>
                        <a:pt x="220" y="272"/>
                      </a:cubicBezTo>
                      <a:cubicBezTo>
                        <a:pt x="214" y="265"/>
                        <a:pt x="214" y="265"/>
                        <a:pt x="214" y="265"/>
                      </a:cubicBezTo>
                      <a:cubicBezTo>
                        <a:pt x="186" y="277"/>
                        <a:pt x="186" y="277"/>
                        <a:pt x="186" y="277"/>
                      </a:cubicBezTo>
                      <a:cubicBezTo>
                        <a:pt x="174" y="263"/>
                        <a:pt x="174" y="263"/>
                        <a:pt x="174" y="263"/>
                      </a:cubicBezTo>
                      <a:cubicBezTo>
                        <a:pt x="165" y="252"/>
                        <a:pt x="165" y="252"/>
                        <a:pt x="165" y="252"/>
                      </a:cubicBezTo>
                      <a:cubicBezTo>
                        <a:pt x="166" y="238"/>
                        <a:pt x="166" y="238"/>
                        <a:pt x="166" y="238"/>
                      </a:cubicBezTo>
                      <a:cubicBezTo>
                        <a:pt x="163" y="227"/>
                        <a:pt x="163" y="227"/>
                        <a:pt x="163" y="227"/>
                      </a:cubicBezTo>
                      <a:cubicBezTo>
                        <a:pt x="175" y="203"/>
                        <a:pt x="175" y="203"/>
                        <a:pt x="175" y="203"/>
                      </a:cubicBezTo>
                      <a:cubicBezTo>
                        <a:pt x="174" y="197"/>
                        <a:pt x="174" y="197"/>
                        <a:pt x="174" y="197"/>
                      </a:cubicBezTo>
                      <a:cubicBezTo>
                        <a:pt x="179" y="192"/>
                        <a:pt x="179" y="192"/>
                        <a:pt x="179" y="192"/>
                      </a:cubicBezTo>
                      <a:cubicBezTo>
                        <a:pt x="180" y="186"/>
                        <a:pt x="180" y="186"/>
                        <a:pt x="180" y="186"/>
                      </a:cubicBezTo>
                      <a:cubicBezTo>
                        <a:pt x="191" y="185"/>
                        <a:pt x="191" y="185"/>
                        <a:pt x="191" y="185"/>
                      </a:cubicBezTo>
                      <a:cubicBezTo>
                        <a:pt x="204" y="179"/>
                        <a:pt x="204" y="179"/>
                        <a:pt x="204" y="179"/>
                      </a:cubicBezTo>
                      <a:cubicBezTo>
                        <a:pt x="215" y="182"/>
                        <a:pt x="215" y="182"/>
                        <a:pt x="215" y="182"/>
                      </a:cubicBezTo>
                      <a:cubicBezTo>
                        <a:pt x="223" y="190"/>
                        <a:pt x="223" y="190"/>
                        <a:pt x="223" y="190"/>
                      </a:cubicBezTo>
                      <a:cubicBezTo>
                        <a:pt x="236" y="192"/>
                        <a:pt x="236" y="192"/>
                        <a:pt x="236" y="192"/>
                      </a:cubicBezTo>
                      <a:cubicBezTo>
                        <a:pt x="242" y="186"/>
                        <a:pt x="242" y="186"/>
                        <a:pt x="242" y="186"/>
                      </a:cubicBezTo>
                      <a:cubicBezTo>
                        <a:pt x="273" y="179"/>
                        <a:pt x="273" y="179"/>
                        <a:pt x="273" y="179"/>
                      </a:cubicBezTo>
                      <a:cubicBezTo>
                        <a:pt x="271" y="169"/>
                        <a:pt x="271" y="169"/>
                        <a:pt x="271" y="169"/>
                      </a:cubicBezTo>
                      <a:cubicBezTo>
                        <a:pt x="261" y="169"/>
                        <a:pt x="261" y="169"/>
                        <a:pt x="261" y="169"/>
                      </a:cubicBezTo>
                      <a:cubicBezTo>
                        <a:pt x="262" y="152"/>
                        <a:pt x="262" y="152"/>
                        <a:pt x="262" y="152"/>
                      </a:cubicBezTo>
                      <a:cubicBezTo>
                        <a:pt x="280" y="153"/>
                        <a:pt x="280" y="153"/>
                        <a:pt x="280" y="153"/>
                      </a:cubicBezTo>
                      <a:cubicBezTo>
                        <a:pt x="284" y="151"/>
                        <a:pt x="284" y="151"/>
                        <a:pt x="284" y="151"/>
                      </a:cubicBezTo>
                      <a:cubicBezTo>
                        <a:pt x="276" y="144"/>
                        <a:pt x="276" y="144"/>
                        <a:pt x="276" y="144"/>
                      </a:cubicBezTo>
                      <a:cubicBezTo>
                        <a:pt x="274" y="134"/>
                        <a:pt x="274" y="134"/>
                        <a:pt x="274" y="134"/>
                      </a:cubicBezTo>
                      <a:cubicBezTo>
                        <a:pt x="268" y="145"/>
                        <a:pt x="268" y="145"/>
                        <a:pt x="268" y="145"/>
                      </a:cubicBezTo>
                      <a:cubicBezTo>
                        <a:pt x="261" y="142"/>
                        <a:pt x="261" y="142"/>
                        <a:pt x="261" y="142"/>
                      </a:cubicBezTo>
                      <a:cubicBezTo>
                        <a:pt x="253" y="143"/>
                        <a:pt x="253" y="143"/>
                        <a:pt x="253" y="143"/>
                      </a:cubicBezTo>
                      <a:cubicBezTo>
                        <a:pt x="253" y="156"/>
                        <a:pt x="253" y="156"/>
                        <a:pt x="253" y="156"/>
                      </a:cubicBezTo>
                      <a:cubicBezTo>
                        <a:pt x="249" y="165"/>
                        <a:pt x="249" y="165"/>
                        <a:pt x="249" y="165"/>
                      </a:cubicBezTo>
                      <a:cubicBezTo>
                        <a:pt x="247" y="170"/>
                        <a:pt x="247" y="170"/>
                        <a:pt x="247" y="170"/>
                      </a:cubicBezTo>
                      <a:cubicBezTo>
                        <a:pt x="236" y="167"/>
                        <a:pt x="236" y="167"/>
                        <a:pt x="236" y="167"/>
                      </a:cubicBezTo>
                      <a:cubicBezTo>
                        <a:pt x="225" y="157"/>
                        <a:pt x="225" y="157"/>
                        <a:pt x="225" y="157"/>
                      </a:cubicBezTo>
                      <a:cubicBezTo>
                        <a:pt x="229" y="170"/>
                        <a:pt x="229" y="170"/>
                        <a:pt x="229" y="170"/>
                      </a:cubicBezTo>
                      <a:cubicBezTo>
                        <a:pt x="224" y="173"/>
                        <a:pt x="224" y="173"/>
                        <a:pt x="224" y="173"/>
                      </a:cubicBezTo>
                      <a:cubicBezTo>
                        <a:pt x="226" y="167"/>
                        <a:pt x="226" y="167"/>
                        <a:pt x="226" y="167"/>
                      </a:cubicBezTo>
                      <a:cubicBezTo>
                        <a:pt x="208" y="155"/>
                        <a:pt x="208" y="155"/>
                        <a:pt x="208" y="155"/>
                      </a:cubicBezTo>
                      <a:cubicBezTo>
                        <a:pt x="197" y="162"/>
                        <a:pt x="197" y="162"/>
                        <a:pt x="197" y="162"/>
                      </a:cubicBezTo>
                      <a:cubicBezTo>
                        <a:pt x="189" y="167"/>
                        <a:pt x="189" y="167"/>
                        <a:pt x="189" y="167"/>
                      </a:cubicBezTo>
                      <a:cubicBezTo>
                        <a:pt x="186" y="181"/>
                        <a:pt x="186" y="181"/>
                        <a:pt x="186" y="181"/>
                      </a:cubicBezTo>
                      <a:cubicBezTo>
                        <a:pt x="170" y="179"/>
                        <a:pt x="170" y="179"/>
                        <a:pt x="170" y="179"/>
                      </a:cubicBezTo>
                      <a:cubicBezTo>
                        <a:pt x="174" y="161"/>
                        <a:pt x="174" y="161"/>
                        <a:pt x="174" y="161"/>
                      </a:cubicBezTo>
                      <a:cubicBezTo>
                        <a:pt x="187" y="159"/>
                        <a:pt x="187" y="159"/>
                        <a:pt x="187" y="159"/>
                      </a:cubicBezTo>
                      <a:cubicBezTo>
                        <a:pt x="177" y="144"/>
                        <a:pt x="177" y="144"/>
                        <a:pt x="177" y="144"/>
                      </a:cubicBezTo>
                      <a:cubicBezTo>
                        <a:pt x="191" y="135"/>
                        <a:pt x="191" y="135"/>
                        <a:pt x="191" y="135"/>
                      </a:cubicBezTo>
                      <a:cubicBezTo>
                        <a:pt x="198" y="125"/>
                        <a:pt x="198" y="125"/>
                        <a:pt x="198" y="125"/>
                      </a:cubicBezTo>
                      <a:cubicBezTo>
                        <a:pt x="195" y="113"/>
                        <a:pt x="195" y="113"/>
                        <a:pt x="195" y="113"/>
                      </a:cubicBezTo>
                      <a:cubicBezTo>
                        <a:pt x="200" y="113"/>
                        <a:pt x="200" y="113"/>
                        <a:pt x="200" y="113"/>
                      </a:cubicBezTo>
                      <a:cubicBezTo>
                        <a:pt x="207" y="121"/>
                        <a:pt x="207" y="121"/>
                        <a:pt x="207" y="121"/>
                      </a:cubicBezTo>
                      <a:cubicBezTo>
                        <a:pt x="228" y="113"/>
                        <a:pt x="228" y="113"/>
                        <a:pt x="228" y="113"/>
                      </a:cubicBezTo>
                      <a:cubicBezTo>
                        <a:pt x="230" y="104"/>
                        <a:pt x="230" y="104"/>
                        <a:pt x="230" y="104"/>
                      </a:cubicBezTo>
                      <a:cubicBezTo>
                        <a:pt x="238" y="89"/>
                        <a:pt x="238" y="89"/>
                        <a:pt x="238" y="89"/>
                      </a:cubicBezTo>
                      <a:cubicBezTo>
                        <a:pt x="225" y="82"/>
                        <a:pt x="225" y="82"/>
                        <a:pt x="225" y="82"/>
                      </a:cubicBezTo>
                      <a:cubicBezTo>
                        <a:pt x="217" y="88"/>
                        <a:pt x="217" y="88"/>
                        <a:pt x="217" y="88"/>
                      </a:cubicBezTo>
                      <a:cubicBezTo>
                        <a:pt x="221" y="100"/>
                        <a:pt x="221" y="100"/>
                        <a:pt x="221" y="100"/>
                      </a:cubicBezTo>
                      <a:cubicBezTo>
                        <a:pt x="216" y="112"/>
                        <a:pt x="216" y="112"/>
                        <a:pt x="216" y="112"/>
                      </a:cubicBezTo>
                      <a:cubicBezTo>
                        <a:pt x="197" y="108"/>
                        <a:pt x="197" y="108"/>
                        <a:pt x="197" y="108"/>
                      </a:cubicBezTo>
                      <a:cubicBezTo>
                        <a:pt x="191" y="96"/>
                        <a:pt x="191" y="96"/>
                        <a:pt x="191" y="96"/>
                      </a:cubicBezTo>
                      <a:cubicBezTo>
                        <a:pt x="210" y="70"/>
                        <a:pt x="210" y="70"/>
                        <a:pt x="210" y="70"/>
                      </a:cubicBezTo>
                      <a:cubicBezTo>
                        <a:pt x="229" y="49"/>
                        <a:pt x="229" y="49"/>
                        <a:pt x="229" y="49"/>
                      </a:cubicBezTo>
                      <a:cubicBezTo>
                        <a:pt x="244" y="51"/>
                        <a:pt x="244" y="51"/>
                        <a:pt x="244" y="51"/>
                      </a:cubicBezTo>
                      <a:cubicBezTo>
                        <a:pt x="258" y="54"/>
                        <a:pt x="258" y="54"/>
                        <a:pt x="258" y="54"/>
                      </a:cubicBezTo>
                      <a:cubicBezTo>
                        <a:pt x="266" y="58"/>
                        <a:pt x="266" y="58"/>
                        <a:pt x="266" y="58"/>
                      </a:cubicBezTo>
                      <a:cubicBezTo>
                        <a:pt x="257" y="64"/>
                        <a:pt x="257" y="64"/>
                        <a:pt x="257" y="64"/>
                      </a:cubicBezTo>
                      <a:cubicBezTo>
                        <a:pt x="262" y="74"/>
                        <a:pt x="262" y="74"/>
                        <a:pt x="262" y="74"/>
                      </a:cubicBezTo>
                      <a:cubicBezTo>
                        <a:pt x="275" y="63"/>
                        <a:pt x="275" y="63"/>
                        <a:pt x="275" y="63"/>
                      </a:cubicBezTo>
                      <a:cubicBezTo>
                        <a:pt x="279" y="51"/>
                        <a:pt x="279" y="51"/>
                        <a:pt x="279" y="51"/>
                      </a:cubicBezTo>
                      <a:cubicBezTo>
                        <a:pt x="282" y="53"/>
                        <a:pt x="282" y="53"/>
                        <a:pt x="282" y="53"/>
                      </a:cubicBezTo>
                      <a:cubicBezTo>
                        <a:pt x="284" y="61"/>
                        <a:pt x="284" y="61"/>
                        <a:pt x="284" y="61"/>
                      </a:cubicBezTo>
                      <a:cubicBezTo>
                        <a:pt x="307" y="47"/>
                        <a:pt x="307" y="47"/>
                        <a:pt x="307" y="47"/>
                      </a:cubicBezTo>
                      <a:cubicBezTo>
                        <a:pt x="314" y="40"/>
                        <a:pt x="314" y="40"/>
                        <a:pt x="314" y="40"/>
                      </a:cubicBezTo>
                      <a:cubicBezTo>
                        <a:pt x="319" y="37"/>
                        <a:pt x="319" y="37"/>
                        <a:pt x="319" y="37"/>
                      </a:cubicBezTo>
                      <a:cubicBezTo>
                        <a:pt x="318" y="37"/>
                        <a:pt x="318" y="37"/>
                        <a:pt x="318" y="37"/>
                      </a:cubicBezTo>
                      <a:cubicBezTo>
                        <a:pt x="284" y="13"/>
                        <a:pt x="243" y="0"/>
                        <a:pt x="198" y="0"/>
                      </a:cubicBezTo>
                      <a:cubicBezTo>
                        <a:pt x="180" y="0"/>
                        <a:pt x="163" y="2"/>
                        <a:pt x="146" y="6"/>
                      </a:cubicBezTo>
                      <a:cubicBezTo>
                        <a:pt x="136" y="16"/>
                        <a:pt x="136" y="16"/>
                        <a:pt x="136" y="16"/>
                      </a:cubicBezTo>
                      <a:cubicBezTo>
                        <a:pt x="151" y="19"/>
                        <a:pt x="151" y="19"/>
                        <a:pt x="151" y="19"/>
                      </a:cubicBezTo>
                      <a:cubicBezTo>
                        <a:pt x="165" y="14"/>
                        <a:pt x="165" y="14"/>
                        <a:pt x="165" y="14"/>
                      </a:cubicBezTo>
                      <a:cubicBezTo>
                        <a:pt x="176" y="14"/>
                        <a:pt x="176" y="14"/>
                        <a:pt x="176" y="14"/>
                      </a:cubicBezTo>
                      <a:cubicBezTo>
                        <a:pt x="162" y="26"/>
                        <a:pt x="162" y="26"/>
                        <a:pt x="162" y="26"/>
                      </a:cubicBezTo>
                      <a:cubicBezTo>
                        <a:pt x="158" y="34"/>
                        <a:pt x="158" y="34"/>
                        <a:pt x="158" y="34"/>
                      </a:cubicBezTo>
                      <a:cubicBezTo>
                        <a:pt x="164" y="37"/>
                        <a:pt x="164" y="37"/>
                        <a:pt x="164" y="37"/>
                      </a:cubicBezTo>
                      <a:cubicBezTo>
                        <a:pt x="160" y="42"/>
                        <a:pt x="160" y="42"/>
                        <a:pt x="160" y="42"/>
                      </a:cubicBezTo>
                      <a:cubicBezTo>
                        <a:pt x="160" y="51"/>
                        <a:pt x="160" y="51"/>
                        <a:pt x="160" y="51"/>
                      </a:cubicBezTo>
                      <a:cubicBezTo>
                        <a:pt x="162" y="64"/>
                        <a:pt x="162" y="64"/>
                        <a:pt x="162" y="64"/>
                      </a:cubicBezTo>
                      <a:cubicBezTo>
                        <a:pt x="149" y="60"/>
                        <a:pt x="149" y="60"/>
                        <a:pt x="149" y="60"/>
                      </a:cubicBezTo>
                      <a:cubicBezTo>
                        <a:pt x="153" y="73"/>
                        <a:pt x="153" y="73"/>
                        <a:pt x="153" y="73"/>
                      </a:cubicBezTo>
                      <a:cubicBezTo>
                        <a:pt x="142" y="81"/>
                        <a:pt x="142" y="81"/>
                        <a:pt x="142" y="81"/>
                      </a:cubicBezTo>
                      <a:cubicBezTo>
                        <a:pt x="131" y="90"/>
                        <a:pt x="131" y="90"/>
                        <a:pt x="131" y="90"/>
                      </a:cubicBezTo>
                      <a:cubicBezTo>
                        <a:pt x="120" y="100"/>
                        <a:pt x="120" y="100"/>
                        <a:pt x="120" y="100"/>
                      </a:cubicBezTo>
                      <a:cubicBezTo>
                        <a:pt x="116" y="113"/>
                        <a:pt x="116" y="113"/>
                        <a:pt x="116" y="113"/>
                      </a:cubicBezTo>
                      <a:cubicBezTo>
                        <a:pt x="101" y="104"/>
                        <a:pt x="101" y="104"/>
                        <a:pt x="101" y="104"/>
                      </a:cubicBezTo>
                      <a:cubicBezTo>
                        <a:pt x="95" y="94"/>
                        <a:pt x="95" y="94"/>
                        <a:pt x="95" y="94"/>
                      </a:cubicBezTo>
                      <a:cubicBezTo>
                        <a:pt x="98" y="92"/>
                        <a:pt x="98" y="92"/>
                        <a:pt x="98" y="92"/>
                      </a:cubicBezTo>
                      <a:cubicBezTo>
                        <a:pt x="95" y="89"/>
                        <a:pt x="95" y="89"/>
                        <a:pt x="95" y="89"/>
                      </a:cubicBezTo>
                      <a:cubicBezTo>
                        <a:pt x="100" y="80"/>
                        <a:pt x="100" y="80"/>
                        <a:pt x="100" y="80"/>
                      </a:cubicBezTo>
                      <a:cubicBezTo>
                        <a:pt x="96" y="72"/>
                        <a:pt x="96" y="72"/>
                        <a:pt x="96" y="72"/>
                      </a:cubicBezTo>
                      <a:cubicBezTo>
                        <a:pt x="87" y="75"/>
                        <a:pt x="87" y="75"/>
                        <a:pt x="87" y="75"/>
                      </a:cubicBezTo>
                      <a:cubicBezTo>
                        <a:pt x="87" y="66"/>
                        <a:pt x="87" y="66"/>
                        <a:pt x="87" y="66"/>
                      </a:cubicBezTo>
                      <a:cubicBezTo>
                        <a:pt x="68" y="54"/>
                        <a:pt x="68" y="54"/>
                        <a:pt x="68" y="54"/>
                      </a:cubicBezTo>
                      <a:cubicBezTo>
                        <a:pt x="60" y="52"/>
                        <a:pt x="60" y="52"/>
                        <a:pt x="60" y="52"/>
                      </a:cubicBezTo>
                      <a:cubicBezTo>
                        <a:pt x="33" y="75"/>
                        <a:pt x="12" y="105"/>
                        <a:pt x="0" y="138"/>
                      </a:cubicBezTo>
                      <a:cubicBezTo>
                        <a:pt x="8" y="138"/>
                        <a:pt x="8" y="138"/>
                        <a:pt x="8" y="138"/>
                      </a:cubicBezTo>
                      <a:cubicBezTo>
                        <a:pt x="14" y="145"/>
                        <a:pt x="14" y="145"/>
                        <a:pt x="14" y="145"/>
                      </a:cubicBezTo>
                      <a:cubicBezTo>
                        <a:pt x="20" y="142"/>
                        <a:pt x="20" y="142"/>
                        <a:pt x="20" y="142"/>
                      </a:cubicBezTo>
                      <a:cubicBezTo>
                        <a:pt x="39" y="153"/>
                        <a:pt x="39" y="153"/>
                        <a:pt x="39" y="153"/>
                      </a:cubicBezTo>
                      <a:cubicBezTo>
                        <a:pt x="48" y="160"/>
                        <a:pt x="48" y="160"/>
                        <a:pt x="48" y="160"/>
                      </a:cubicBezTo>
                      <a:cubicBezTo>
                        <a:pt x="43" y="149"/>
                        <a:pt x="43" y="149"/>
                        <a:pt x="43" y="149"/>
                      </a:cubicBezTo>
                      <a:cubicBezTo>
                        <a:pt x="48" y="138"/>
                        <a:pt x="48" y="138"/>
                        <a:pt x="48" y="138"/>
                      </a:cubicBezTo>
                      <a:cubicBezTo>
                        <a:pt x="40" y="131"/>
                        <a:pt x="40" y="131"/>
                        <a:pt x="40" y="131"/>
                      </a:cubicBezTo>
                      <a:cubicBezTo>
                        <a:pt x="46" y="119"/>
                        <a:pt x="46" y="119"/>
                        <a:pt x="46" y="119"/>
                      </a:cubicBezTo>
                      <a:cubicBezTo>
                        <a:pt x="62" y="123"/>
                        <a:pt x="62" y="123"/>
                        <a:pt x="62" y="123"/>
                      </a:cubicBezTo>
                      <a:cubicBezTo>
                        <a:pt x="61" y="128"/>
                        <a:pt x="61" y="128"/>
                        <a:pt x="61" y="128"/>
                      </a:cubicBezTo>
                      <a:cubicBezTo>
                        <a:pt x="72" y="123"/>
                        <a:pt x="72" y="123"/>
                        <a:pt x="72" y="123"/>
                      </a:cubicBezTo>
                      <a:cubicBezTo>
                        <a:pt x="83" y="135"/>
                        <a:pt x="83" y="135"/>
                        <a:pt x="83" y="135"/>
                      </a:cubicBezTo>
                      <a:cubicBezTo>
                        <a:pt x="94" y="141"/>
                        <a:pt x="94" y="141"/>
                        <a:pt x="94" y="141"/>
                      </a:cubicBezTo>
                      <a:cubicBezTo>
                        <a:pt x="90" y="159"/>
                        <a:pt x="90" y="159"/>
                        <a:pt x="90" y="159"/>
                      </a:cubicBezTo>
                      <a:cubicBezTo>
                        <a:pt x="71" y="163"/>
                        <a:pt x="71" y="163"/>
                        <a:pt x="71" y="163"/>
                      </a:cubicBezTo>
                      <a:cubicBezTo>
                        <a:pt x="84" y="173"/>
                        <a:pt x="84" y="173"/>
                        <a:pt x="84" y="173"/>
                      </a:cubicBezTo>
                      <a:cubicBezTo>
                        <a:pt x="86" y="184"/>
                        <a:pt x="86" y="184"/>
                        <a:pt x="86" y="184"/>
                      </a:cubicBezTo>
                      <a:cubicBezTo>
                        <a:pt x="79" y="182"/>
                        <a:pt x="79" y="182"/>
                        <a:pt x="79" y="182"/>
                      </a:cubicBezTo>
                      <a:cubicBezTo>
                        <a:pt x="71" y="184"/>
                        <a:pt x="71" y="184"/>
                        <a:pt x="71" y="184"/>
                      </a:cubicBezTo>
                      <a:cubicBezTo>
                        <a:pt x="65" y="189"/>
                        <a:pt x="65" y="189"/>
                        <a:pt x="65" y="189"/>
                      </a:cubicBezTo>
                      <a:cubicBezTo>
                        <a:pt x="60" y="199"/>
                        <a:pt x="60" y="199"/>
                        <a:pt x="60" y="199"/>
                      </a:cubicBezTo>
                      <a:cubicBezTo>
                        <a:pt x="61" y="211"/>
                        <a:pt x="61" y="211"/>
                        <a:pt x="61" y="211"/>
                      </a:cubicBezTo>
                      <a:cubicBezTo>
                        <a:pt x="51" y="226"/>
                        <a:pt x="51" y="226"/>
                        <a:pt x="51" y="226"/>
                      </a:cubicBezTo>
                      <a:cubicBezTo>
                        <a:pt x="54" y="237"/>
                        <a:pt x="54" y="237"/>
                        <a:pt x="54" y="237"/>
                      </a:cubicBezTo>
                      <a:cubicBezTo>
                        <a:pt x="52" y="239"/>
                        <a:pt x="52" y="239"/>
                        <a:pt x="52" y="239"/>
                      </a:cubicBezTo>
                      <a:cubicBezTo>
                        <a:pt x="42" y="234"/>
                        <a:pt x="42" y="234"/>
                        <a:pt x="42" y="234"/>
                      </a:cubicBezTo>
                      <a:cubicBezTo>
                        <a:pt x="31" y="236"/>
                        <a:pt x="31" y="236"/>
                        <a:pt x="31" y="236"/>
                      </a:cubicBezTo>
                      <a:cubicBezTo>
                        <a:pt x="28" y="244"/>
                        <a:pt x="28" y="244"/>
                        <a:pt x="28" y="244"/>
                      </a:cubicBezTo>
                      <a:cubicBezTo>
                        <a:pt x="21" y="261"/>
                        <a:pt x="21" y="261"/>
                        <a:pt x="21" y="261"/>
                      </a:cubicBezTo>
                      <a:cubicBezTo>
                        <a:pt x="29" y="265"/>
                        <a:pt x="29" y="265"/>
                        <a:pt x="29" y="265"/>
                      </a:cubicBezTo>
                      <a:cubicBezTo>
                        <a:pt x="34" y="257"/>
                        <a:pt x="34" y="257"/>
                        <a:pt x="34" y="257"/>
                      </a:cubicBezTo>
                      <a:cubicBezTo>
                        <a:pt x="40" y="256"/>
                        <a:pt x="40" y="256"/>
                        <a:pt x="40" y="256"/>
                      </a:cubicBezTo>
                      <a:cubicBezTo>
                        <a:pt x="40" y="269"/>
                        <a:pt x="40" y="269"/>
                        <a:pt x="40" y="269"/>
                      </a:cubicBezTo>
                      <a:cubicBezTo>
                        <a:pt x="48" y="268"/>
                        <a:pt x="48" y="268"/>
                        <a:pt x="48" y="268"/>
                      </a:cubicBezTo>
                      <a:cubicBezTo>
                        <a:pt x="52" y="275"/>
                        <a:pt x="52" y="275"/>
                        <a:pt x="52" y="275"/>
                      </a:cubicBezTo>
                      <a:cubicBezTo>
                        <a:pt x="61" y="279"/>
                        <a:pt x="61" y="279"/>
                        <a:pt x="61" y="279"/>
                      </a:cubicBezTo>
                      <a:cubicBezTo>
                        <a:pt x="72" y="287"/>
                        <a:pt x="72" y="287"/>
                        <a:pt x="72" y="287"/>
                      </a:cubicBezTo>
                      <a:cubicBezTo>
                        <a:pt x="74" y="281"/>
                        <a:pt x="74" y="281"/>
                        <a:pt x="74" y="281"/>
                      </a:cubicBezTo>
                      <a:cubicBezTo>
                        <a:pt x="95" y="279"/>
                        <a:pt x="95" y="279"/>
                        <a:pt x="95" y="279"/>
                      </a:cubicBezTo>
                      <a:cubicBezTo>
                        <a:pt x="121" y="287"/>
                        <a:pt x="121" y="287"/>
                        <a:pt x="121" y="287"/>
                      </a:cubicBezTo>
                      <a:cubicBezTo>
                        <a:pt x="132" y="307"/>
                        <a:pt x="132" y="307"/>
                        <a:pt x="132" y="307"/>
                      </a:cubicBezTo>
                      <a:cubicBezTo>
                        <a:pt x="166" y="311"/>
                        <a:pt x="166" y="311"/>
                        <a:pt x="166" y="311"/>
                      </a:cubicBezTo>
                      <a:cubicBezTo>
                        <a:pt x="170" y="322"/>
                        <a:pt x="170" y="322"/>
                        <a:pt x="170" y="322"/>
                      </a:cubicBezTo>
                      <a:cubicBezTo>
                        <a:pt x="164" y="362"/>
                        <a:pt x="164" y="362"/>
                        <a:pt x="164" y="362"/>
                      </a:cubicBezTo>
                      <a:cubicBezTo>
                        <a:pt x="146" y="388"/>
                        <a:pt x="146" y="388"/>
                        <a:pt x="146" y="388"/>
                      </a:cubicBezTo>
                      <a:cubicBezTo>
                        <a:pt x="138" y="414"/>
                        <a:pt x="138" y="414"/>
                        <a:pt x="138" y="414"/>
                      </a:cubicBezTo>
                      <a:cubicBezTo>
                        <a:pt x="157" y="420"/>
                        <a:pt x="177" y="423"/>
                        <a:pt x="198" y="423"/>
                      </a:cubicBezTo>
                      <a:cubicBezTo>
                        <a:pt x="315" y="423"/>
                        <a:pt x="410" y="328"/>
                        <a:pt x="410" y="211"/>
                      </a:cubicBezTo>
                      <a:cubicBezTo>
                        <a:pt x="410" y="209"/>
                        <a:pt x="410" y="207"/>
                        <a:pt x="410" y="205"/>
                      </a:cubicBezTo>
                      <a:close/>
                      <a:moveTo>
                        <a:pt x="146" y="129"/>
                      </a:moveTo>
                      <a:cubicBezTo>
                        <a:pt x="154" y="129"/>
                        <a:pt x="154" y="129"/>
                        <a:pt x="154" y="129"/>
                      </a:cubicBezTo>
                      <a:cubicBezTo>
                        <a:pt x="159" y="134"/>
                        <a:pt x="159" y="134"/>
                        <a:pt x="159" y="134"/>
                      </a:cubicBezTo>
                      <a:cubicBezTo>
                        <a:pt x="169" y="158"/>
                        <a:pt x="169" y="158"/>
                        <a:pt x="169" y="158"/>
                      </a:cubicBezTo>
                      <a:cubicBezTo>
                        <a:pt x="154" y="158"/>
                        <a:pt x="154" y="158"/>
                        <a:pt x="154" y="158"/>
                      </a:cubicBezTo>
                      <a:cubicBezTo>
                        <a:pt x="154" y="145"/>
                        <a:pt x="154" y="145"/>
                        <a:pt x="154" y="145"/>
                      </a:cubicBezTo>
                      <a:lnTo>
                        <a:pt x="146" y="12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sz="2000"/>
                </a:p>
              </p:txBody>
            </p:sp>
            <p:sp>
              <p:nvSpPr>
                <p:cNvPr id="133" name="Oval 18">
                  <a:extLst>
                    <a:ext uri="{FF2B5EF4-FFF2-40B4-BE49-F238E27FC236}">
                      <a16:creationId xmlns:a16="http://schemas.microsoft.com/office/drawing/2014/main" id="{050ED803-1208-40DB-8633-5AEC3F2010E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3250" y="4084638"/>
                  <a:ext cx="246063" cy="246063"/>
                </a:xfrm>
                <a:prstGeom prst="ellipse">
                  <a:avLst/>
                </a:prstGeom>
                <a:no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sz="2000"/>
                </a:p>
              </p:txBody>
            </p:sp>
          </p:grpSp>
          <p:grpSp>
            <p:nvGrpSpPr>
              <p:cNvPr id="108" name="Gruppieren 93">
                <a:extLst>
                  <a:ext uri="{FF2B5EF4-FFF2-40B4-BE49-F238E27FC236}">
                    <a16:creationId xmlns:a16="http://schemas.microsoft.com/office/drawing/2014/main" id="{7D0C8195-A229-46F5-A0BF-2BE149B1FBAB}"/>
                  </a:ext>
                </a:extLst>
              </p:cNvPr>
              <p:cNvGrpSpPr/>
              <p:nvPr/>
            </p:nvGrpSpPr>
            <p:grpSpPr>
              <a:xfrm>
                <a:off x="973138" y="4032250"/>
                <a:ext cx="354012" cy="350838"/>
                <a:chOff x="973138" y="4032250"/>
                <a:chExt cx="354012" cy="350838"/>
              </a:xfrm>
            </p:grpSpPr>
            <p:sp>
              <p:nvSpPr>
                <p:cNvPr id="125" name="Oval 22">
                  <a:extLst>
                    <a:ext uri="{FF2B5EF4-FFF2-40B4-BE49-F238E27FC236}">
                      <a16:creationId xmlns:a16="http://schemas.microsoft.com/office/drawing/2014/main" id="{A5F2230E-F59D-4992-B8F7-08322B2EE2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73138" y="4032250"/>
                  <a:ext cx="354012" cy="350838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sz="2000"/>
                </a:p>
              </p:txBody>
            </p:sp>
            <p:sp>
              <p:nvSpPr>
                <p:cNvPr id="126" name="Oval 23">
                  <a:extLst>
                    <a:ext uri="{FF2B5EF4-FFF2-40B4-BE49-F238E27FC236}">
                      <a16:creationId xmlns:a16="http://schemas.microsoft.com/office/drawing/2014/main" id="{28F56E32-C11B-42C2-A37C-C54B0659C6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6488" y="4140200"/>
                  <a:ext cx="33337" cy="3333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sz="2000"/>
                </a:p>
              </p:txBody>
            </p:sp>
            <p:sp>
              <p:nvSpPr>
                <p:cNvPr id="127" name="Freeform 24">
                  <a:extLst>
                    <a:ext uri="{FF2B5EF4-FFF2-40B4-BE49-F238E27FC236}">
                      <a16:creationId xmlns:a16="http://schemas.microsoft.com/office/drawing/2014/main" id="{8101AFA0-03F3-49AA-9519-655FFA672B6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9813" y="4073525"/>
                  <a:ext cx="168275" cy="166688"/>
                </a:xfrm>
                <a:custGeom>
                  <a:avLst/>
                  <a:gdLst>
                    <a:gd name="T0" fmla="*/ 287 w 287"/>
                    <a:gd name="T1" fmla="*/ 163 h 286"/>
                    <a:gd name="T2" fmla="*/ 287 w 287"/>
                    <a:gd name="T3" fmla="*/ 123 h 286"/>
                    <a:gd name="T4" fmla="*/ 249 w 287"/>
                    <a:gd name="T5" fmla="*/ 123 h 286"/>
                    <a:gd name="T6" fmla="*/ 232 w 287"/>
                    <a:gd name="T7" fmla="*/ 82 h 286"/>
                    <a:gd name="T8" fmla="*/ 259 w 287"/>
                    <a:gd name="T9" fmla="*/ 56 h 286"/>
                    <a:gd name="T10" fmla="*/ 230 w 287"/>
                    <a:gd name="T11" fmla="*/ 27 h 286"/>
                    <a:gd name="T12" fmla="*/ 204 w 287"/>
                    <a:gd name="T13" fmla="*/ 54 h 286"/>
                    <a:gd name="T14" fmla="*/ 163 w 287"/>
                    <a:gd name="T15" fmla="*/ 37 h 286"/>
                    <a:gd name="T16" fmla="*/ 163 w 287"/>
                    <a:gd name="T17" fmla="*/ 0 h 286"/>
                    <a:gd name="T18" fmla="*/ 123 w 287"/>
                    <a:gd name="T19" fmla="*/ 0 h 286"/>
                    <a:gd name="T20" fmla="*/ 123 w 287"/>
                    <a:gd name="T21" fmla="*/ 37 h 286"/>
                    <a:gd name="T22" fmla="*/ 83 w 287"/>
                    <a:gd name="T23" fmla="*/ 54 h 286"/>
                    <a:gd name="T24" fmla="*/ 56 w 287"/>
                    <a:gd name="T25" fmla="*/ 27 h 286"/>
                    <a:gd name="T26" fmla="*/ 28 w 287"/>
                    <a:gd name="T27" fmla="*/ 56 h 286"/>
                    <a:gd name="T28" fmla="*/ 54 w 287"/>
                    <a:gd name="T29" fmla="*/ 82 h 286"/>
                    <a:gd name="T30" fmla="*/ 37 w 287"/>
                    <a:gd name="T31" fmla="*/ 123 h 286"/>
                    <a:gd name="T32" fmla="*/ 0 w 287"/>
                    <a:gd name="T33" fmla="*/ 123 h 286"/>
                    <a:gd name="T34" fmla="*/ 0 w 287"/>
                    <a:gd name="T35" fmla="*/ 163 h 286"/>
                    <a:gd name="T36" fmla="*/ 37 w 287"/>
                    <a:gd name="T37" fmla="*/ 163 h 286"/>
                    <a:gd name="T38" fmla="*/ 54 w 287"/>
                    <a:gd name="T39" fmla="*/ 204 h 286"/>
                    <a:gd name="T40" fmla="*/ 28 w 287"/>
                    <a:gd name="T41" fmla="*/ 230 h 286"/>
                    <a:gd name="T42" fmla="*/ 56 w 287"/>
                    <a:gd name="T43" fmla="*/ 259 h 286"/>
                    <a:gd name="T44" fmla="*/ 83 w 287"/>
                    <a:gd name="T45" fmla="*/ 232 h 286"/>
                    <a:gd name="T46" fmla="*/ 123 w 287"/>
                    <a:gd name="T47" fmla="*/ 249 h 286"/>
                    <a:gd name="T48" fmla="*/ 123 w 287"/>
                    <a:gd name="T49" fmla="*/ 286 h 286"/>
                    <a:gd name="T50" fmla="*/ 163 w 287"/>
                    <a:gd name="T51" fmla="*/ 286 h 286"/>
                    <a:gd name="T52" fmla="*/ 163 w 287"/>
                    <a:gd name="T53" fmla="*/ 249 h 286"/>
                    <a:gd name="T54" fmla="*/ 204 w 287"/>
                    <a:gd name="T55" fmla="*/ 232 h 286"/>
                    <a:gd name="T56" fmla="*/ 230 w 287"/>
                    <a:gd name="T57" fmla="*/ 259 h 286"/>
                    <a:gd name="T58" fmla="*/ 259 w 287"/>
                    <a:gd name="T59" fmla="*/ 230 h 286"/>
                    <a:gd name="T60" fmla="*/ 232 w 287"/>
                    <a:gd name="T61" fmla="*/ 204 h 286"/>
                    <a:gd name="T62" fmla="*/ 249 w 287"/>
                    <a:gd name="T63" fmla="*/ 163 h 286"/>
                    <a:gd name="T64" fmla="*/ 287 w 287"/>
                    <a:gd name="T65" fmla="*/ 163 h 286"/>
                    <a:gd name="T66" fmla="*/ 143 w 287"/>
                    <a:gd name="T67" fmla="*/ 205 h 286"/>
                    <a:gd name="T68" fmla="*/ 81 w 287"/>
                    <a:gd name="T69" fmla="*/ 143 h 286"/>
                    <a:gd name="T70" fmla="*/ 143 w 287"/>
                    <a:gd name="T71" fmla="*/ 81 h 286"/>
                    <a:gd name="T72" fmla="*/ 205 w 287"/>
                    <a:gd name="T73" fmla="*/ 143 h 286"/>
                    <a:gd name="T74" fmla="*/ 143 w 287"/>
                    <a:gd name="T75" fmla="*/ 205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87" h="286">
                      <a:moveTo>
                        <a:pt x="287" y="163"/>
                      </a:moveTo>
                      <a:cubicBezTo>
                        <a:pt x="287" y="123"/>
                        <a:pt x="287" y="123"/>
                        <a:pt x="287" y="123"/>
                      </a:cubicBezTo>
                      <a:cubicBezTo>
                        <a:pt x="249" y="123"/>
                        <a:pt x="249" y="123"/>
                        <a:pt x="249" y="123"/>
                      </a:cubicBezTo>
                      <a:cubicBezTo>
                        <a:pt x="246" y="108"/>
                        <a:pt x="240" y="94"/>
                        <a:pt x="232" y="82"/>
                      </a:cubicBezTo>
                      <a:cubicBezTo>
                        <a:pt x="259" y="56"/>
                        <a:pt x="259" y="56"/>
                        <a:pt x="259" y="56"/>
                      </a:cubicBezTo>
                      <a:cubicBezTo>
                        <a:pt x="230" y="27"/>
                        <a:pt x="230" y="27"/>
                        <a:pt x="230" y="27"/>
                      </a:cubicBezTo>
                      <a:cubicBezTo>
                        <a:pt x="204" y="54"/>
                        <a:pt x="204" y="54"/>
                        <a:pt x="204" y="54"/>
                      </a:cubicBezTo>
                      <a:cubicBezTo>
                        <a:pt x="192" y="46"/>
                        <a:pt x="178" y="40"/>
                        <a:pt x="163" y="37"/>
                      </a:cubicBezTo>
                      <a:cubicBezTo>
                        <a:pt x="163" y="0"/>
                        <a:pt x="163" y="0"/>
                        <a:pt x="163" y="0"/>
                      </a:cubicBezTo>
                      <a:cubicBezTo>
                        <a:pt x="123" y="0"/>
                        <a:pt x="123" y="0"/>
                        <a:pt x="123" y="0"/>
                      </a:cubicBezTo>
                      <a:cubicBezTo>
                        <a:pt x="123" y="37"/>
                        <a:pt x="123" y="37"/>
                        <a:pt x="123" y="37"/>
                      </a:cubicBezTo>
                      <a:cubicBezTo>
                        <a:pt x="108" y="40"/>
                        <a:pt x="95" y="46"/>
                        <a:pt x="83" y="54"/>
                      </a:cubicBezTo>
                      <a:cubicBezTo>
                        <a:pt x="56" y="27"/>
                        <a:pt x="56" y="27"/>
                        <a:pt x="56" y="27"/>
                      </a:cubicBezTo>
                      <a:cubicBezTo>
                        <a:pt x="28" y="56"/>
                        <a:pt x="28" y="56"/>
                        <a:pt x="28" y="56"/>
                      </a:cubicBezTo>
                      <a:cubicBezTo>
                        <a:pt x="54" y="82"/>
                        <a:pt x="54" y="82"/>
                        <a:pt x="54" y="82"/>
                      </a:cubicBezTo>
                      <a:cubicBezTo>
                        <a:pt x="46" y="94"/>
                        <a:pt x="40" y="108"/>
                        <a:pt x="37" y="123"/>
                      </a:cubicBezTo>
                      <a:cubicBezTo>
                        <a:pt x="0" y="123"/>
                        <a:pt x="0" y="123"/>
                        <a:pt x="0" y="123"/>
                      </a:cubicBezTo>
                      <a:cubicBezTo>
                        <a:pt x="0" y="163"/>
                        <a:pt x="0" y="163"/>
                        <a:pt x="0" y="163"/>
                      </a:cubicBezTo>
                      <a:cubicBezTo>
                        <a:pt x="37" y="163"/>
                        <a:pt x="37" y="163"/>
                        <a:pt x="37" y="163"/>
                      </a:cubicBezTo>
                      <a:cubicBezTo>
                        <a:pt x="40" y="178"/>
                        <a:pt x="46" y="192"/>
                        <a:pt x="54" y="204"/>
                      </a:cubicBezTo>
                      <a:cubicBezTo>
                        <a:pt x="28" y="230"/>
                        <a:pt x="28" y="230"/>
                        <a:pt x="28" y="230"/>
                      </a:cubicBezTo>
                      <a:cubicBezTo>
                        <a:pt x="56" y="259"/>
                        <a:pt x="56" y="259"/>
                        <a:pt x="56" y="259"/>
                      </a:cubicBezTo>
                      <a:cubicBezTo>
                        <a:pt x="83" y="232"/>
                        <a:pt x="83" y="232"/>
                        <a:pt x="83" y="232"/>
                      </a:cubicBezTo>
                      <a:cubicBezTo>
                        <a:pt x="95" y="240"/>
                        <a:pt x="108" y="246"/>
                        <a:pt x="123" y="249"/>
                      </a:cubicBezTo>
                      <a:cubicBezTo>
                        <a:pt x="123" y="286"/>
                        <a:pt x="123" y="286"/>
                        <a:pt x="123" y="286"/>
                      </a:cubicBezTo>
                      <a:cubicBezTo>
                        <a:pt x="163" y="286"/>
                        <a:pt x="163" y="286"/>
                        <a:pt x="163" y="286"/>
                      </a:cubicBezTo>
                      <a:cubicBezTo>
                        <a:pt x="163" y="249"/>
                        <a:pt x="163" y="249"/>
                        <a:pt x="163" y="249"/>
                      </a:cubicBezTo>
                      <a:cubicBezTo>
                        <a:pt x="178" y="246"/>
                        <a:pt x="192" y="240"/>
                        <a:pt x="204" y="232"/>
                      </a:cubicBezTo>
                      <a:cubicBezTo>
                        <a:pt x="230" y="259"/>
                        <a:pt x="230" y="259"/>
                        <a:pt x="230" y="259"/>
                      </a:cubicBezTo>
                      <a:cubicBezTo>
                        <a:pt x="259" y="230"/>
                        <a:pt x="259" y="230"/>
                        <a:pt x="259" y="230"/>
                      </a:cubicBezTo>
                      <a:cubicBezTo>
                        <a:pt x="232" y="204"/>
                        <a:pt x="232" y="204"/>
                        <a:pt x="232" y="204"/>
                      </a:cubicBezTo>
                      <a:cubicBezTo>
                        <a:pt x="240" y="192"/>
                        <a:pt x="246" y="178"/>
                        <a:pt x="249" y="163"/>
                      </a:cubicBezTo>
                      <a:lnTo>
                        <a:pt x="287" y="163"/>
                      </a:lnTo>
                      <a:close/>
                      <a:moveTo>
                        <a:pt x="143" y="205"/>
                      </a:moveTo>
                      <a:cubicBezTo>
                        <a:pt x="109" y="205"/>
                        <a:pt x="81" y="177"/>
                        <a:pt x="81" y="143"/>
                      </a:cubicBezTo>
                      <a:cubicBezTo>
                        <a:pt x="81" y="109"/>
                        <a:pt x="109" y="81"/>
                        <a:pt x="143" y="81"/>
                      </a:cubicBezTo>
                      <a:cubicBezTo>
                        <a:pt x="177" y="81"/>
                        <a:pt x="205" y="109"/>
                        <a:pt x="205" y="143"/>
                      </a:cubicBezTo>
                      <a:cubicBezTo>
                        <a:pt x="205" y="177"/>
                        <a:pt x="177" y="205"/>
                        <a:pt x="143" y="20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sz="2000"/>
                </a:p>
              </p:txBody>
            </p:sp>
            <p:sp>
              <p:nvSpPr>
                <p:cNvPr id="128" name="Oval 25">
                  <a:extLst>
                    <a:ext uri="{FF2B5EF4-FFF2-40B4-BE49-F238E27FC236}">
                      <a16:creationId xmlns:a16="http://schemas.microsoft.com/office/drawing/2014/main" id="{4D3BDAFC-659A-42FC-98BC-7CB7FB4D9C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89038" y="4270375"/>
                  <a:ext cx="23812" cy="23813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sz="2000"/>
                </a:p>
              </p:txBody>
            </p:sp>
            <p:sp>
              <p:nvSpPr>
                <p:cNvPr id="129" name="Freeform 26">
                  <a:extLst>
                    <a:ext uri="{FF2B5EF4-FFF2-40B4-BE49-F238E27FC236}">
                      <a16:creationId xmlns:a16="http://schemas.microsoft.com/office/drawing/2014/main" id="{BD81B840-843C-4A60-9432-A98693AC999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39825" y="4222750"/>
                  <a:ext cx="120650" cy="119063"/>
                </a:xfrm>
                <a:custGeom>
                  <a:avLst/>
                  <a:gdLst>
                    <a:gd name="T0" fmla="*/ 205 w 205"/>
                    <a:gd name="T1" fmla="*/ 116 h 204"/>
                    <a:gd name="T2" fmla="*/ 205 w 205"/>
                    <a:gd name="T3" fmla="*/ 88 h 204"/>
                    <a:gd name="T4" fmla="*/ 178 w 205"/>
                    <a:gd name="T5" fmla="*/ 88 h 204"/>
                    <a:gd name="T6" fmla="*/ 166 w 205"/>
                    <a:gd name="T7" fmla="*/ 59 h 204"/>
                    <a:gd name="T8" fmla="*/ 185 w 205"/>
                    <a:gd name="T9" fmla="*/ 40 h 204"/>
                    <a:gd name="T10" fmla="*/ 165 w 205"/>
                    <a:gd name="T11" fmla="*/ 20 h 204"/>
                    <a:gd name="T12" fmla="*/ 146 w 205"/>
                    <a:gd name="T13" fmla="*/ 39 h 204"/>
                    <a:gd name="T14" fmla="*/ 117 w 205"/>
                    <a:gd name="T15" fmla="*/ 27 h 204"/>
                    <a:gd name="T16" fmla="*/ 117 w 205"/>
                    <a:gd name="T17" fmla="*/ 0 h 204"/>
                    <a:gd name="T18" fmla="*/ 89 w 205"/>
                    <a:gd name="T19" fmla="*/ 0 h 204"/>
                    <a:gd name="T20" fmla="*/ 89 w 205"/>
                    <a:gd name="T21" fmla="*/ 27 h 204"/>
                    <a:gd name="T22" fmla="*/ 59 w 205"/>
                    <a:gd name="T23" fmla="*/ 39 h 204"/>
                    <a:gd name="T24" fmla="*/ 40 w 205"/>
                    <a:gd name="T25" fmla="*/ 20 h 204"/>
                    <a:gd name="T26" fmla="*/ 20 w 205"/>
                    <a:gd name="T27" fmla="*/ 40 h 204"/>
                    <a:gd name="T28" fmla="*/ 39 w 205"/>
                    <a:gd name="T29" fmla="*/ 59 h 204"/>
                    <a:gd name="T30" fmla="*/ 27 w 205"/>
                    <a:gd name="T31" fmla="*/ 88 h 204"/>
                    <a:gd name="T32" fmla="*/ 0 w 205"/>
                    <a:gd name="T33" fmla="*/ 88 h 204"/>
                    <a:gd name="T34" fmla="*/ 0 w 205"/>
                    <a:gd name="T35" fmla="*/ 116 h 204"/>
                    <a:gd name="T36" fmla="*/ 27 w 205"/>
                    <a:gd name="T37" fmla="*/ 116 h 204"/>
                    <a:gd name="T38" fmla="*/ 39 w 205"/>
                    <a:gd name="T39" fmla="*/ 145 h 204"/>
                    <a:gd name="T40" fmla="*/ 20 w 205"/>
                    <a:gd name="T41" fmla="*/ 164 h 204"/>
                    <a:gd name="T42" fmla="*/ 40 w 205"/>
                    <a:gd name="T43" fmla="*/ 184 h 204"/>
                    <a:gd name="T44" fmla="*/ 59 w 205"/>
                    <a:gd name="T45" fmla="*/ 165 h 204"/>
                    <a:gd name="T46" fmla="*/ 89 w 205"/>
                    <a:gd name="T47" fmla="*/ 177 h 204"/>
                    <a:gd name="T48" fmla="*/ 89 w 205"/>
                    <a:gd name="T49" fmla="*/ 204 h 204"/>
                    <a:gd name="T50" fmla="*/ 117 w 205"/>
                    <a:gd name="T51" fmla="*/ 204 h 204"/>
                    <a:gd name="T52" fmla="*/ 117 w 205"/>
                    <a:gd name="T53" fmla="*/ 177 h 204"/>
                    <a:gd name="T54" fmla="*/ 146 w 205"/>
                    <a:gd name="T55" fmla="*/ 165 h 204"/>
                    <a:gd name="T56" fmla="*/ 165 w 205"/>
                    <a:gd name="T57" fmla="*/ 184 h 204"/>
                    <a:gd name="T58" fmla="*/ 185 w 205"/>
                    <a:gd name="T59" fmla="*/ 164 h 204"/>
                    <a:gd name="T60" fmla="*/ 166 w 205"/>
                    <a:gd name="T61" fmla="*/ 145 h 204"/>
                    <a:gd name="T62" fmla="*/ 178 w 205"/>
                    <a:gd name="T63" fmla="*/ 116 h 204"/>
                    <a:gd name="T64" fmla="*/ 205 w 205"/>
                    <a:gd name="T65" fmla="*/ 116 h 204"/>
                    <a:gd name="T66" fmla="*/ 103 w 205"/>
                    <a:gd name="T67" fmla="*/ 146 h 204"/>
                    <a:gd name="T68" fmla="*/ 59 w 205"/>
                    <a:gd name="T69" fmla="*/ 102 h 204"/>
                    <a:gd name="T70" fmla="*/ 103 w 205"/>
                    <a:gd name="T71" fmla="*/ 58 h 204"/>
                    <a:gd name="T72" fmla="*/ 147 w 205"/>
                    <a:gd name="T73" fmla="*/ 102 h 204"/>
                    <a:gd name="T74" fmla="*/ 103 w 205"/>
                    <a:gd name="T75" fmla="*/ 146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205" h="204">
                      <a:moveTo>
                        <a:pt x="205" y="116"/>
                      </a:moveTo>
                      <a:cubicBezTo>
                        <a:pt x="205" y="88"/>
                        <a:pt x="205" y="88"/>
                        <a:pt x="205" y="88"/>
                      </a:cubicBezTo>
                      <a:cubicBezTo>
                        <a:pt x="178" y="88"/>
                        <a:pt x="178" y="88"/>
                        <a:pt x="178" y="88"/>
                      </a:cubicBezTo>
                      <a:cubicBezTo>
                        <a:pt x="176" y="77"/>
                        <a:pt x="172" y="67"/>
                        <a:pt x="166" y="59"/>
                      </a:cubicBezTo>
                      <a:cubicBezTo>
                        <a:pt x="185" y="40"/>
                        <a:pt x="185" y="40"/>
                        <a:pt x="185" y="40"/>
                      </a:cubicBezTo>
                      <a:cubicBezTo>
                        <a:pt x="165" y="20"/>
                        <a:pt x="165" y="20"/>
                        <a:pt x="165" y="20"/>
                      </a:cubicBezTo>
                      <a:cubicBezTo>
                        <a:pt x="146" y="39"/>
                        <a:pt x="146" y="39"/>
                        <a:pt x="146" y="39"/>
                      </a:cubicBezTo>
                      <a:cubicBezTo>
                        <a:pt x="137" y="33"/>
                        <a:pt x="128" y="29"/>
                        <a:pt x="117" y="27"/>
                      </a:cubicBezTo>
                      <a:cubicBezTo>
                        <a:pt x="117" y="0"/>
                        <a:pt x="117" y="0"/>
                        <a:pt x="117" y="0"/>
                      </a:cubicBezTo>
                      <a:cubicBezTo>
                        <a:pt x="89" y="0"/>
                        <a:pt x="89" y="0"/>
                        <a:pt x="89" y="0"/>
                      </a:cubicBezTo>
                      <a:cubicBezTo>
                        <a:pt x="89" y="27"/>
                        <a:pt x="89" y="27"/>
                        <a:pt x="89" y="27"/>
                      </a:cubicBezTo>
                      <a:cubicBezTo>
                        <a:pt x="78" y="29"/>
                        <a:pt x="68" y="33"/>
                        <a:pt x="59" y="39"/>
                      </a:cubicBezTo>
                      <a:cubicBezTo>
                        <a:pt x="40" y="20"/>
                        <a:pt x="40" y="20"/>
                        <a:pt x="40" y="20"/>
                      </a:cubicBezTo>
                      <a:cubicBezTo>
                        <a:pt x="20" y="40"/>
                        <a:pt x="20" y="40"/>
                        <a:pt x="20" y="40"/>
                      </a:cubicBezTo>
                      <a:cubicBezTo>
                        <a:pt x="39" y="59"/>
                        <a:pt x="39" y="59"/>
                        <a:pt x="39" y="59"/>
                      </a:cubicBezTo>
                      <a:cubicBezTo>
                        <a:pt x="34" y="67"/>
                        <a:pt x="29" y="77"/>
                        <a:pt x="27" y="88"/>
                      </a:cubicBezTo>
                      <a:cubicBezTo>
                        <a:pt x="0" y="88"/>
                        <a:pt x="0" y="88"/>
                        <a:pt x="0" y="88"/>
                      </a:cubicBezTo>
                      <a:cubicBezTo>
                        <a:pt x="0" y="116"/>
                        <a:pt x="0" y="116"/>
                        <a:pt x="0" y="116"/>
                      </a:cubicBezTo>
                      <a:cubicBezTo>
                        <a:pt x="27" y="116"/>
                        <a:pt x="27" y="116"/>
                        <a:pt x="27" y="116"/>
                      </a:cubicBezTo>
                      <a:cubicBezTo>
                        <a:pt x="29" y="127"/>
                        <a:pt x="34" y="137"/>
                        <a:pt x="39" y="145"/>
                      </a:cubicBezTo>
                      <a:cubicBezTo>
                        <a:pt x="20" y="164"/>
                        <a:pt x="20" y="164"/>
                        <a:pt x="20" y="164"/>
                      </a:cubicBezTo>
                      <a:cubicBezTo>
                        <a:pt x="40" y="184"/>
                        <a:pt x="40" y="184"/>
                        <a:pt x="40" y="184"/>
                      </a:cubicBezTo>
                      <a:cubicBezTo>
                        <a:pt x="59" y="165"/>
                        <a:pt x="59" y="165"/>
                        <a:pt x="59" y="165"/>
                      </a:cubicBezTo>
                      <a:cubicBezTo>
                        <a:pt x="68" y="171"/>
                        <a:pt x="78" y="175"/>
                        <a:pt x="89" y="177"/>
                      </a:cubicBezTo>
                      <a:cubicBezTo>
                        <a:pt x="89" y="204"/>
                        <a:pt x="89" y="204"/>
                        <a:pt x="89" y="204"/>
                      </a:cubicBezTo>
                      <a:cubicBezTo>
                        <a:pt x="117" y="204"/>
                        <a:pt x="117" y="204"/>
                        <a:pt x="117" y="204"/>
                      </a:cubicBezTo>
                      <a:cubicBezTo>
                        <a:pt x="117" y="177"/>
                        <a:pt x="117" y="177"/>
                        <a:pt x="117" y="177"/>
                      </a:cubicBezTo>
                      <a:cubicBezTo>
                        <a:pt x="128" y="175"/>
                        <a:pt x="137" y="171"/>
                        <a:pt x="146" y="165"/>
                      </a:cubicBezTo>
                      <a:cubicBezTo>
                        <a:pt x="165" y="184"/>
                        <a:pt x="165" y="184"/>
                        <a:pt x="165" y="184"/>
                      </a:cubicBezTo>
                      <a:cubicBezTo>
                        <a:pt x="185" y="164"/>
                        <a:pt x="185" y="164"/>
                        <a:pt x="185" y="164"/>
                      </a:cubicBezTo>
                      <a:cubicBezTo>
                        <a:pt x="166" y="145"/>
                        <a:pt x="166" y="145"/>
                        <a:pt x="166" y="145"/>
                      </a:cubicBezTo>
                      <a:cubicBezTo>
                        <a:pt x="172" y="137"/>
                        <a:pt x="176" y="127"/>
                        <a:pt x="178" y="116"/>
                      </a:cubicBezTo>
                      <a:lnTo>
                        <a:pt x="205" y="116"/>
                      </a:lnTo>
                      <a:close/>
                      <a:moveTo>
                        <a:pt x="103" y="146"/>
                      </a:moveTo>
                      <a:cubicBezTo>
                        <a:pt x="78" y="146"/>
                        <a:pt x="59" y="126"/>
                        <a:pt x="59" y="102"/>
                      </a:cubicBezTo>
                      <a:cubicBezTo>
                        <a:pt x="59" y="77"/>
                        <a:pt x="78" y="58"/>
                        <a:pt x="103" y="58"/>
                      </a:cubicBezTo>
                      <a:cubicBezTo>
                        <a:pt x="127" y="58"/>
                        <a:pt x="147" y="77"/>
                        <a:pt x="147" y="102"/>
                      </a:cubicBezTo>
                      <a:cubicBezTo>
                        <a:pt x="147" y="126"/>
                        <a:pt x="127" y="146"/>
                        <a:pt x="103" y="14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sz="2000"/>
                </a:p>
              </p:txBody>
            </p:sp>
          </p:grpSp>
          <p:grpSp>
            <p:nvGrpSpPr>
              <p:cNvPr id="109" name="Gruppieren 94">
                <a:extLst>
                  <a:ext uri="{FF2B5EF4-FFF2-40B4-BE49-F238E27FC236}">
                    <a16:creationId xmlns:a16="http://schemas.microsoft.com/office/drawing/2014/main" id="{394ABE29-50E6-4A68-8A6A-E18764DCC9BB}"/>
                  </a:ext>
                </a:extLst>
              </p:cNvPr>
              <p:cNvGrpSpPr/>
              <p:nvPr/>
            </p:nvGrpSpPr>
            <p:grpSpPr>
              <a:xfrm>
                <a:off x="549275" y="4433888"/>
                <a:ext cx="354013" cy="350837"/>
                <a:chOff x="549275" y="4433888"/>
                <a:chExt cx="354013" cy="350837"/>
              </a:xfrm>
            </p:grpSpPr>
            <p:sp>
              <p:nvSpPr>
                <p:cNvPr id="113" name="Oval 30">
                  <a:extLst>
                    <a:ext uri="{FF2B5EF4-FFF2-40B4-BE49-F238E27FC236}">
                      <a16:creationId xmlns:a16="http://schemas.microsoft.com/office/drawing/2014/main" id="{4BCDEFB2-87FC-4818-808F-FA763D34BA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9275" y="4433888"/>
                  <a:ext cx="354013" cy="350837"/>
                </a:xfrm>
                <a:prstGeom prst="ellipse">
                  <a:avLst/>
                </a:pr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sz="2000"/>
                </a:p>
              </p:txBody>
            </p:sp>
            <p:grpSp>
              <p:nvGrpSpPr>
                <p:cNvPr id="114" name="Gruppieren 99">
                  <a:extLst>
                    <a:ext uri="{FF2B5EF4-FFF2-40B4-BE49-F238E27FC236}">
                      <a16:creationId xmlns:a16="http://schemas.microsoft.com/office/drawing/2014/main" id="{0C9467AE-B4D9-414C-907D-62D1368FB406}"/>
                    </a:ext>
                  </a:extLst>
                </p:cNvPr>
                <p:cNvGrpSpPr/>
                <p:nvPr/>
              </p:nvGrpSpPr>
              <p:grpSpPr>
                <a:xfrm>
                  <a:off x="687388" y="4473575"/>
                  <a:ext cx="77787" cy="271462"/>
                  <a:chOff x="687388" y="4473575"/>
                  <a:chExt cx="77787" cy="271462"/>
                </a:xfrm>
              </p:grpSpPr>
              <p:sp>
                <p:nvSpPr>
                  <p:cNvPr id="115" name="Freeform 31">
                    <a:extLst>
                      <a:ext uri="{FF2B5EF4-FFF2-40B4-BE49-F238E27FC236}">
                        <a16:creationId xmlns:a16="http://schemas.microsoft.com/office/drawing/2014/main" id="{AF3318F7-66CD-4BA6-8E1F-56238DC2184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11200" y="4473575"/>
                    <a:ext cx="28575" cy="52387"/>
                  </a:xfrm>
                  <a:custGeom>
                    <a:avLst/>
                    <a:gdLst>
                      <a:gd name="T0" fmla="*/ 1544 w 2968"/>
                      <a:gd name="T1" fmla="*/ 5472 h 5472"/>
                      <a:gd name="T2" fmla="*/ 2968 w 2968"/>
                      <a:gd name="T3" fmla="*/ 3926 h 5472"/>
                      <a:gd name="T4" fmla="*/ 1544 w 2968"/>
                      <a:gd name="T5" fmla="*/ 0 h 5472"/>
                      <a:gd name="T6" fmla="*/ 0 w 2968"/>
                      <a:gd name="T7" fmla="*/ 3926 h 5472"/>
                      <a:gd name="T8" fmla="*/ 1544 w 2968"/>
                      <a:gd name="T9" fmla="*/ 5472 h 54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968" h="5472">
                        <a:moveTo>
                          <a:pt x="1544" y="5472"/>
                        </a:moveTo>
                        <a:cubicBezTo>
                          <a:pt x="2375" y="5472"/>
                          <a:pt x="2968" y="4759"/>
                          <a:pt x="2968" y="3926"/>
                        </a:cubicBezTo>
                        <a:cubicBezTo>
                          <a:pt x="2968" y="3093"/>
                          <a:pt x="1544" y="0"/>
                          <a:pt x="1544" y="0"/>
                        </a:cubicBezTo>
                        <a:cubicBezTo>
                          <a:pt x="1544" y="0"/>
                          <a:pt x="0" y="3093"/>
                          <a:pt x="0" y="3926"/>
                        </a:cubicBezTo>
                        <a:cubicBezTo>
                          <a:pt x="0" y="4759"/>
                          <a:pt x="713" y="5472"/>
                          <a:pt x="1544" y="5472"/>
                        </a:cubicBezTo>
                      </a:path>
                    </a:pathLst>
                  </a:custGeom>
                  <a:solidFill>
                    <a:srgbClr val="FFFFFF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ES" sz="2000"/>
                  </a:p>
                </p:txBody>
              </p:sp>
              <p:sp>
                <p:nvSpPr>
                  <p:cNvPr id="116" name="Freeform 32">
                    <a:extLst>
                      <a:ext uri="{FF2B5EF4-FFF2-40B4-BE49-F238E27FC236}">
                        <a16:creationId xmlns:a16="http://schemas.microsoft.com/office/drawing/2014/main" id="{3804E332-F097-4256-9AEF-A89A1CB3D77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4514850"/>
                    <a:ext cx="38100" cy="50800"/>
                  </a:xfrm>
                  <a:custGeom>
                    <a:avLst/>
                    <a:gdLst>
                      <a:gd name="T0" fmla="*/ 949 w 3912"/>
                      <a:gd name="T1" fmla="*/ 4637 h 5112"/>
                      <a:gd name="T2" fmla="*/ 475 w 3912"/>
                      <a:gd name="T3" fmla="*/ 2497 h 5112"/>
                      <a:gd name="T4" fmla="*/ 3912 w 3912"/>
                      <a:gd name="T5" fmla="*/ 0 h 5112"/>
                      <a:gd name="T6" fmla="*/ 3083 w 3912"/>
                      <a:gd name="T7" fmla="*/ 4161 h 5112"/>
                      <a:gd name="T8" fmla="*/ 949 w 3912"/>
                      <a:gd name="T9" fmla="*/ 4637 h 5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912" h="5112">
                        <a:moveTo>
                          <a:pt x="949" y="4637"/>
                        </a:moveTo>
                        <a:cubicBezTo>
                          <a:pt x="238" y="4161"/>
                          <a:pt x="0" y="3210"/>
                          <a:pt x="475" y="2497"/>
                        </a:cubicBezTo>
                        <a:cubicBezTo>
                          <a:pt x="949" y="1784"/>
                          <a:pt x="3912" y="0"/>
                          <a:pt x="3912" y="0"/>
                        </a:cubicBezTo>
                        <a:cubicBezTo>
                          <a:pt x="3912" y="0"/>
                          <a:pt x="3438" y="3448"/>
                          <a:pt x="3083" y="4161"/>
                        </a:cubicBezTo>
                        <a:cubicBezTo>
                          <a:pt x="2608" y="4875"/>
                          <a:pt x="1660" y="5112"/>
                          <a:pt x="949" y="4637"/>
                        </a:cubicBezTo>
                      </a:path>
                    </a:pathLst>
                  </a:custGeom>
                  <a:solidFill>
                    <a:srgbClr val="FFFFFF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ES" sz="2000"/>
                  </a:p>
                </p:txBody>
              </p:sp>
              <p:sp>
                <p:nvSpPr>
                  <p:cNvPr id="117" name="Freeform 33">
                    <a:extLst>
                      <a:ext uri="{FF2B5EF4-FFF2-40B4-BE49-F238E27FC236}">
                        <a16:creationId xmlns:a16="http://schemas.microsoft.com/office/drawing/2014/main" id="{CDB2E130-879C-4565-A35B-EA7807326A7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4557713"/>
                    <a:ext cx="38100" cy="49212"/>
                  </a:xfrm>
                  <a:custGeom>
                    <a:avLst/>
                    <a:gdLst>
                      <a:gd name="T0" fmla="*/ 949 w 3912"/>
                      <a:gd name="T1" fmla="*/ 4495 h 4968"/>
                      <a:gd name="T2" fmla="*/ 475 w 3912"/>
                      <a:gd name="T3" fmla="*/ 2484 h 4968"/>
                      <a:gd name="T4" fmla="*/ 3912 w 3912"/>
                      <a:gd name="T5" fmla="*/ 0 h 4968"/>
                      <a:gd name="T6" fmla="*/ 3083 w 3912"/>
                      <a:gd name="T7" fmla="*/ 4022 h 4968"/>
                      <a:gd name="T8" fmla="*/ 949 w 3912"/>
                      <a:gd name="T9" fmla="*/ 4495 h 49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912" h="4968">
                        <a:moveTo>
                          <a:pt x="949" y="4495"/>
                        </a:moveTo>
                        <a:cubicBezTo>
                          <a:pt x="238" y="4140"/>
                          <a:pt x="0" y="3194"/>
                          <a:pt x="475" y="2484"/>
                        </a:cubicBezTo>
                        <a:cubicBezTo>
                          <a:pt x="949" y="1775"/>
                          <a:pt x="3912" y="0"/>
                          <a:pt x="3912" y="0"/>
                        </a:cubicBezTo>
                        <a:cubicBezTo>
                          <a:pt x="3912" y="0"/>
                          <a:pt x="3438" y="3431"/>
                          <a:pt x="3083" y="4022"/>
                        </a:cubicBezTo>
                        <a:cubicBezTo>
                          <a:pt x="2608" y="4732"/>
                          <a:pt x="1660" y="4968"/>
                          <a:pt x="949" y="4495"/>
                        </a:cubicBezTo>
                      </a:path>
                    </a:pathLst>
                  </a:custGeom>
                  <a:solidFill>
                    <a:srgbClr val="FFFFFF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ES" sz="2000"/>
                  </a:p>
                </p:txBody>
              </p:sp>
              <p:sp>
                <p:nvSpPr>
                  <p:cNvPr id="118" name="Freeform 34">
                    <a:extLst>
                      <a:ext uri="{FF2B5EF4-FFF2-40B4-BE49-F238E27FC236}">
                        <a16:creationId xmlns:a16="http://schemas.microsoft.com/office/drawing/2014/main" id="{21006226-023A-4016-98DE-CEC63EFE270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4600575"/>
                    <a:ext cx="38100" cy="49212"/>
                  </a:xfrm>
                  <a:custGeom>
                    <a:avLst/>
                    <a:gdLst>
                      <a:gd name="T0" fmla="*/ 949 w 3912"/>
                      <a:gd name="T1" fmla="*/ 4601 h 5072"/>
                      <a:gd name="T2" fmla="*/ 475 w 3912"/>
                      <a:gd name="T3" fmla="*/ 2477 h 5072"/>
                      <a:gd name="T4" fmla="*/ 3912 w 3912"/>
                      <a:gd name="T5" fmla="*/ 0 h 5072"/>
                      <a:gd name="T6" fmla="*/ 3083 w 3912"/>
                      <a:gd name="T7" fmla="*/ 4129 h 5072"/>
                      <a:gd name="T8" fmla="*/ 949 w 3912"/>
                      <a:gd name="T9" fmla="*/ 4601 h 50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912" h="5072">
                        <a:moveTo>
                          <a:pt x="949" y="4601"/>
                        </a:moveTo>
                        <a:cubicBezTo>
                          <a:pt x="238" y="4129"/>
                          <a:pt x="0" y="3185"/>
                          <a:pt x="475" y="2477"/>
                        </a:cubicBezTo>
                        <a:cubicBezTo>
                          <a:pt x="949" y="1770"/>
                          <a:pt x="3912" y="0"/>
                          <a:pt x="3912" y="0"/>
                        </a:cubicBezTo>
                        <a:cubicBezTo>
                          <a:pt x="3912" y="0"/>
                          <a:pt x="3438" y="3421"/>
                          <a:pt x="3083" y="4129"/>
                        </a:cubicBezTo>
                        <a:cubicBezTo>
                          <a:pt x="2608" y="4837"/>
                          <a:pt x="1660" y="5072"/>
                          <a:pt x="949" y="4601"/>
                        </a:cubicBezTo>
                      </a:path>
                    </a:pathLst>
                  </a:custGeom>
                  <a:solidFill>
                    <a:srgbClr val="FFFFFF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ES" sz="2000"/>
                  </a:p>
                </p:txBody>
              </p:sp>
              <p:sp>
                <p:nvSpPr>
                  <p:cNvPr id="119" name="Freeform 35">
                    <a:extLst>
                      <a:ext uri="{FF2B5EF4-FFF2-40B4-BE49-F238E27FC236}">
                        <a16:creationId xmlns:a16="http://schemas.microsoft.com/office/drawing/2014/main" id="{12FFB36E-4A0C-435F-A1F9-44A23BFB6B3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7075" y="4643438"/>
                    <a:ext cx="38100" cy="47625"/>
                  </a:xfrm>
                  <a:custGeom>
                    <a:avLst/>
                    <a:gdLst>
                      <a:gd name="T0" fmla="*/ 949 w 3912"/>
                      <a:gd name="T1" fmla="*/ 4614 h 4968"/>
                      <a:gd name="T2" fmla="*/ 475 w 3912"/>
                      <a:gd name="T3" fmla="*/ 2484 h 4968"/>
                      <a:gd name="T4" fmla="*/ 3912 w 3912"/>
                      <a:gd name="T5" fmla="*/ 0 h 4968"/>
                      <a:gd name="T6" fmla="*/ 3083 w 3912"/>
                      <a:gd name="T7" fmla="*/ 4140 h 4968"/>
                      <a:gd name="T8" fmla="*/ 949 w 3912"/>
                      <a:gd name="T9" fmla="*/ 4614 h 49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912" h="4968">
                        <a:moveTo>
                          <a:pt x="949" y="4614"/>
                        </a:moveTo>
                        <a:cubicBezTo>
                          <a:pt x="238" y="4140"/>
                          <a:pt x="0" y="3194"/>
                          <a:pt x="475" y="2484"/>
                        </a:cubicBezTo>
                        <a:cubicBezTo>
                          <a:pt x="949" y="1775"/>
                          <a:pt x="3912" y="0"/>
                          <a:pt x="3912" y="0"/>
                        </a:cubicBezTo>
                        <a:cubicBezTo>
                          <a:pt x="3912" y="0"/>
                          <a:pt x="3438" y="3431"/>
                          <a:pt x="3083" y="4140"/>
                        </a:cubicBezTo>
                        <a:cubicBezTo>
                          <a:pt x="2608" y="4850"/>
                          <a:pt x="1660" y="4968"/>
                          <a:pt x="949" y="4614"/>
                        </a:cubicBezTo>
                      </a:path>
                    </a:pathLst>
                  </a:custGeom>
                  <a:solidFill>
                    <a:srgbClr val="FFFFFF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ES" sz="2000"/>
                  </a:p>
                </p:txBody>
              </p:sp>
              <p:sp>
                <p:nvSpPr>
                  <p:cNvPr id="120" name="Freeform 36">
                    <a:extLst>
                      <a:ext uri="{FF2B5EF4-FFF2-40B4-BE49-F238E27FC236}">
                        <a16:creationId xmlns:a16="http://schemas.microsoft.com/office/drawing/2014/main" id="{E08B2958-3A4C-41C7-815A-D1C60C3E4AC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87388" y="4514850"/>
                    <a:ext cx="38100" cy="50800"/>
                  </a:xfrm>
                  <a:custGeom>
                    <a:avLst/>
                    <a:gdLst>
                      <a:gd name="T0" fmla="*/ 2820 w 3760"/>
                      <a:gd name="T1" fmla="*/ 4637 h 5112"/>
                      <a:gd name="T2" fmla="*/ 3290 w 3760"/>
                      <a:gd name="T3" fmla="*/ 2497 h 5112"/>
                      <a:gd name="T4" fmla="*/ 0 w 3760"/>
                      <a:gd name="T5" fmla="*/ 0 h 5112"/>
                      <a:gd name="T6" fmla="*/ 823 w 3760"/>
                      <a:gd name="T7" fmla="*/ 4161 h 5112"/>
                      <a:gd name="T8" fmla="*/ 2820 w 3760"/>
                      <a:gd name="T9" fmla="*/ 4637 h 5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760" h="5112">
                        <a:moveTo>
                          <a:pt x="2820" y="4637"/>
                        </a:moveTo>
                        <a:cubicBezTo>
                          <a:pt x="3525" y="4161"/>
                          <a:pt x="3760" y="3210"/>
                          <a:pt x="3290" y="2497"/>
                        </a:cubicBezTo>
                        <a:cubicBezTo>
                          <a:pt x="2820" y="1784"/>
                          <a:pt x="0" y="0"/>
                          <a:pt x="0" y="0"/>
                        </a:cubicBezTo>
                        <a:cubicBezTo>
                          <a:pt x="0" y="0"/>
                          <a:pt x="353" y="3448"/>
                          <a:pt x="823" y="4161"/>
                        </a:cubicBezTo>
                        <a:cubicBezTo>
                          <a:pt x="1175" y="4875"/>
                          <a:pt x="2115" y="5112"/>
                          <a:pt x="2820" y="4637"/>
                        </a:cubicBezTo>
                      </a:path>
                    </a:pathLst>
                  </a:custGeom>
                  <a:solidFill>
                    <a:srgbClr val="FFFFFF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ES" sz="2000"/>
                  </a:p>
                </p:txBody>
              </p:sp>
              <p:sp>
                <p:nvSpPr>
                  <p:cNvPr id="121" name="Freeform 37">
                    <a:extLst>
                      <a:ext uri="{FF2B5EF4-FFF2-40B4-BE49-F238E27FC236}">
                        <a16:creationId xmlns:a16="http://schemas.microsoft.com/office/drawing/2014/main" id="{93505CFF-3A57-4E3C-957E-7652DAAE419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87388" y="4557713"/>
                    <a:ext cx="38100" cy="49212"/>
                  </a:xfrm>
                  <a:custGeom>
                    <a:avLst/>
                    <a:gdLst>
                      <a:gd name="T0" fmla="*/ 2820 w 3760"/>
                      <a:gd name="T1" fmla="*/ 4495 h 4968"/>
                      <a:gd name="T2" fmla="*/ 3290 w 3760"/>
                      <a:gd name="T3" fmla="*/ 2484 h 4968"/>
                      <a:gd name="T4" fmla="*/ 0 w 3760"/>
                      <a:gd name="T5" fmla="*/ 0 h 4968"/>
                      <a:gd name="T6" fmla="*/ 823 w 3760"/>
                      <a:gd name="T7" fmla="*/ 4022 h 4968"/>
                      <a:gd name="T8" fmla="*/ 2820 w 3760"/>
                      <a:gd name="T9" fmla="*/ 4495 h 49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760" h="4968">
                        <a:moveTo>
                          <a:pt x="2820" y="4495"/>
                        </a:moveTo>
                        <a:cubicBezTo>
                          <a:pt x="3525" y="4140"/>
                          <a:pt x="3760" y="3194"/>
                          <a:pt x="3290" y="2484"/>
                        </a:cubicBezTo>
                        <a:cubicBezTo>
                          <a:pt x="2820" y="1775"/>
                          <a:pt x="0" y="0"/>
                          <a:pt x="0" y="0"/>
                        </a:cubicBezTo>
                        <a:cubicBezTo>
                          <a:pt x="0" y="0"/>
                          <a:pt x="353" y="3431"/>
                          <a:pt x="823" y="4022"/>
                        </a:cubicBezTo>
                        <a:cubicBezTo>
                          <a:pt x="1175" y="4732"/>
                          <a:pt x="2115" y="4968"/>
                          <a:pt x="2820" y="4495"/>
                        </a:cubicBezTo>
                      </a:path>
                    </a:pathLst>
                  </a:custGeom>
                  <a:solidFill>
                    <a:srgbClr val="FFFFFF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ES" sz="2000"/>
                  </a:p>
                </p:txBody>
              </p:sp>
              <p:sp>
                <p:nvSpPr>
                  <p:cNvPr id="122" name="Freeform 38">
                    <a:extLst>
                      <a:ext uri="{FF2B5EF4-FFF2-40B4-BE49-F238E27FC236}">
                        <a16:creationId xmlns:a16="http://schemas.microsoft.com/office/drawing/2014/main" id="{AA3A8E44-26DB-4A93-856D-40520DDF9A7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87388" y="4600575"/>
                    <a:ext cx="38100" cy="49212"/>
                  </a:xfrm>
                  <a:custGeom>
                    <a:avLst/>
                    <a:gdLst>
                      <a:gd name="T0" fmla="*/ 2820 w 3760"/>
                      <a:gd name="T1" fmla="*/ 4601 h 5072"/>
                      <a:gd name="T2" fmla="*/ 3290 w 3760"/>
                      <a:gd name="T3" fmla="*/ 2477 h 5072"/>
                      <a:gd name="T4" fmla="*/ 0 w 3760"/>
                      <a:gd name="T5" fmla="*/ 0 h 5072"/>
                      <a:gd name="T6" fmla="*/ 823 w 3760"/>
                      <a:gd name="T7" fmla="*/ 4129 h 5072"/>
                      <a:gd name="T8" fmla="*/ 2820 w 3760"/>
                      <a:gd name="T9" fmla="*/ 4601 h 50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760" h="5072">
                        <a:moveTo>
                          <a:pt x="2820" y="4601"/>
                        </a:moveTo>
                        <a:cubicBezTo>
                          <a:pt x="3525" y="4129"/>
                          <a:pt x="3760" y="3185"/>
                          <a:pt x="3290" y="2477"/>
                        </a:cubicBezTo>
                        <a:cubicBezTo>
                          <a:pt x="2820" y="1770"/>
                          <a:pt x="0" y="0"/>
                          <a:pt x="0" y="0"/>
                        </a:cubicBezTo>
                        <a:cubicBezTo>
                          <a:pt x="0" y="0"/>
                          <a:pt x="353" y="3421"/>
                          <a:pt x="823" y="4129"/>
                        </a:cubicBezTo>
                        <a:cubicBezTo>
                          <a:pt x="1175" y="4837"/>
                          <a:pt x="2115" y="5072"/>
                          <a:pt x="2820" y="4601"/>
                        </a:cubicBezTo>
                      </a:path>
                    </a:pathLst>
                  </a:custGeom>
                  <a:solidFill>
                    <a:srgbClr val="FFFFFF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ES" sz="2000"/>
                  </a:p>
                </p:txBody>
              </p:sp>
              <p:sp>
                <p:nvSpPr>
                  <p:cNvPr id="123" name="Freeform 39">
                    <a:extLst>
                      <a:ext uri="{FF2B5EF4-FFF2-40B4-BE49-F238E27FC236}">
                        <a16:creationId xmlns:a16="http://schemas.microsoft.com/office/drawing/2014/main" id="{27EA4FE3-D841-4354-8FCC-5D0CD0A0026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87388" y="4643438"/>
                    <a:ext cx="38100" cy="47625"/>
                  </a:xfrm>
                  <a:custGeom>
                    <a:avLst/>
                    <a:gdLst>
                      <a:gd name="T0" fmla="*/ 2820 w 3760"/>
                      <a:gd name="T1" fmla="*/ 4614 h 4968"/>
                      <a:gd name="T2" fmla="*/ 3290 w 3760"/>
                      <a:gd name="T3" fmla="*/ 2484 h 4968"/>
                      <a:gd name="T4" fmla="*/ 0 w 3760"/>
                      <a:gd name="T5" fmla="*/ 0 h 4968"/>
                      <a:gd name="T6" fmla="*/ 823 w 3760"/>
                      <a:gd name="T7" fmla="*/ 4140 h 4968"/>
                      <a:gd name="T8" fmla="*/ 2820 w 3760"/>
                      <a:gd name="T9" fmla="*/ 4614 h 49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760" h="4968">
                        <a:moveTo>
                          <a:pt x="2820" y="4614"/>
                        </a:moveTo>
                        <a:cubicBezTo>
                          <a:pt x="3525" y="4140"/>
                          <a:pt x="3760" y="3194"/>
                          <a:pt x="3290" y="2484"/>
                        </a:cubicBezTo>
                        <a:cubicBezTo>
                          <a:pt x="2820" y="1775"/>
                          <a:pt x="0" y="0"/>
                          <a:pt x="0" y="0"/>
                        </a:cubicBezTo>
                        <a:cubicBezTo>
                          <a:pt x="0" y="0"/>
                          <a:pt x="353" y="3431"/>
                          <a:pt x="823" y="4140"/>
                        </a:cubicBezTo>
                        <a:cubicBezTo>
                          <a:pt x="1175" y="4850"/>
                          <a:pt x="2115" y="4968"/>
                          <a:pt x="2820" y="4614"/>
                        </a:cubicBezTo>
                      </a:path>
                    </a:pathLst>
                  </a:custGeom>
                  <a:solidFill>
                    <a:srgbClr val="FFFFFF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ES" sz="2000"/>
                  </a:p>
                </p:txBody>
              </p:sp>
              <p:sp>
                <p:nvSpPr>
                  <p:cNvPr id="124" name="Freeform 40">
                    <a:extLst>
                      <a:ext uri="{FF2B5EF4-FFF2-40B4-BE49-F238E27FC236}">
                        <a16:creationId xmlns:a16="http://schemas.microsoft.com/office/drawing/2014/main" id="{F1F8BF39-FDAC-4442-8835-B305A3E3519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0725" y="4695825"/>
                    <a:ext cx="11113" cy="49212"/>
                  </a:xfrm>
                  <a:custGeom>
                    <a:avLst/>
                    <a:gdLst>
                      <a:gd name="T0" fmla="*/ 0 w 1144"/>
                      <a:gd name="T1" fmla="*/ 572 h 5104"/>
                      <a:gd name="T2" fmla="*/ 572 w 1144"/>
                      <a:gd name="T3" fmla="*/ 0 h 5104"/>
                      <a:gd name="T4" fmla="*/ 572 w 1144"/>
                      <a:gd name="T5" fmla="*/ 0 h 5104"/>
                      <a:gd name="T6" fmla="*/ 1144 w 1144"/>
                      <a:gd name="T7" fmla="*/ 572 h 5104"/>
                      <a:gd name="T8" fmla="*/ 1144 w 1144"/>
                      <a:gd name="T9" fmla="*/ 4532 h 5104"/>
                      <a:gd name="T10" fmla="*/ 572 w 1144"/>
                      <a:gd name="T11" fmla="*/ 5104 h 5104"/>
                      <a:gd name="T12" fmla="*/ 572 w 1144"/>
                      <a:gd name="T13" fmla="*/ 5104 h 5104"/>
                      <a:gd name="T14" fmla="*/ 0 w 1144"/>
                      <a:gd name="T15" fmla="*/ 4532 h 5104"/>
                      <a:gd name="T16" fmla="*/ 0 w 1144"/>
                      <a:gd name="T17" fmla="*/ 572 h 510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144" h="5104">
                        <a:moveTo>
                          <a:pt x="0" y="572"/>
                        </a:moveTo>
                        <a:cubicBezTo>
                          <a:pt x="0" y="257"/>
                          <a:pt x="257" y="0"/>
                          <a:pt x="572" y="0"/>
                        </a:cubicBezTo>
                        <a:lnTo>
                          <a:pt x="572" y="0"/>
                        </a:lnTo>
                        <a:cubicBezTo>
                          <a:pt x="888" y="0"/>
                          <a:pt x="1144" y="257"/>
                          <a:pt x="1144" y="572"/>
                        </a:cubicBezTo>
                        <a:lnTo>
                          <a:pt x="1144" y="4532"/>
                        </a:lnTo>
                        <a:cubicBezTo>
                          <a:pt x="1144" y="4848"/>
                          <a:pt x="888" y="5104"/>
                          <a:pt x="572" y="5104"/>
                        </a:cubicBezTo>
                        <a:lnTo>
                          <a:pt x="572" y="5104"/>
                        </a:lnTo>
                        <a:cubicBezTo>
                          <a:pt x="257" y="5104"/>
                          <a:pt x="0" y="4848"/>
                          <a:pt x="0" y="4532"/>
                        </a:cubicBezTo>
                        <a:lnTo>
                          <a:pt x="0" y="57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s-ES" sz="2000"/>
                  </a:p>
                </p:txBody>
              </p:sp>
            </p:grpSp>
          </p:grpSp>
          <p:grpSp>
            <p:nvGrpSpPr>
              <p:cNvPr id="110" name="Gruppieren 95">
                <a:extLst>
                  <a:ext uri="{FF2B5EF4-FFF2-40B4-BE49-F238E27FC236}">
                    <a16:creationId xmlns:a16="http://schemas.microsoft.com/office/drawing/2014/main" id="{12F4BAAE-4543-47A9-A849-E28761FC318F}"/>
                  </a:ext>
                </a:extLst>
              </p:cNvPr>
              <p:cNvGrpSpPr/>
              <p:nvPr/>
            </p:nvGrpSpPr>
            <p:grpSpPr>
              <a:xfrm>
                <a:off x="973138" y="4433888"/>
                <a:ext cx="354012" cy="350837"/>
                <a:chOff x="973138" y="4433888"/>
                <a:chExt cx="354012" cy="350837"/>
              </a:xfrm>
            </p:grpSpPr>
            <p:sp>
              <p:nvSpPr>
                <p:cNvPr id="111" name="Oval 44">
                  <a:extLst>
                    <a:ext uri="{FF2B5EF4-FFF2-40B4-BE49-F238E27FC236}">
                      <a16:creationId xmlns:a16="http://schemas.microsoft.com/office/drawing/2014/main" id="{78188C82-C18F-4BC8-9F86-97F39BBB27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73138" y="4433888"/>
                  <a:ext cx="354012" cy="350837"/>
                </a:xfrm>
                <a:prstGeom prst="ellipse">
                  <a:avLst/>
                </a:pr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sz="2000"/>
                </a:p>
              </p:txBody>
            </p:sp>
            <p:sp>
              <p:nvSpPr>
                <p:cNvPr id="112" name="Freeform 45">
                  <a:extLst>
                    <a:ext uri="{FF2B5EF4-FFF2-40B4-BE49-F238E27FC236}">
                      <a16:creationId xmlns:a16="http://schemas.microsoft.com/office/drawing/2014/main" id="{A511725B-CBA2-4A45-AC65-62B43CE3A4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44575" y="4505325"/>
                  <a:ext cx="185737" cy="212725"/>
                </a:xfrm>
                <a:custGeom>
                  <a:avLst/>
                  <a:gdLst>
                    <a:gd name="T0" fmla="*/ 10855 w 18728"/>
                    <a:gd name="T1" fmla="*/ 0 h 21710"/>
                    <a:gd name="T2" fmla="*/ 18361 w 18728"/>
                    <a:gd name="T3" fmla="*/ 3026 h 21710"/>
                    <a:gd name="T4" fmla="*/ 15719 w 18728"/>
                    <a:gd name="T5" fmla="*/ 5668 h 21710"/>
                    <a:gd name="T6" fmla="*/ 14409 w 18728"/>
                    <a:gd name="T7" fmla="*/ 3571 h 21710"/>
                    <a:gd name="T8" fmla="*/ 11254 w 18728"/>
                    <a:gd name="T9" fmla="*/ 3930 h 21710"/>
                    <a:gd name="T10" fmla="*/ 11254 w 18728"/>
                    <a:gd name="T11" fmla="*/ 3929 h 21710"/>
                    <a:gd name="T12" fmla="*/ 11253 w 18728"/>
                    <a:gd name="T13" fmla="*/ 3931 h 21710"/>
                    <a:gd name="T14" fmla="*/ 11252 w 18728"/>
                    <a:gd name="T15" fmla="*/ 3931 h 21710"/>
                    <a:gd name="T16" fmla="*/ 11252 w 18728"/>
                    <a:gd name="T17" fmla="*/ 3932 h 21710"/>
                    <a:gd name="T18" fmla="*/ 10893 w 18728"/>
                    <a:gd name="T19" fmla="*/ 7087 h 21710"/>
                    <a:gd name="T20" fmla="*/ 12991 w 18728"/>
                    <a:gd name="T21" fmla="*/ 8396 h 21710"/>
                    <a:gd name="T22" fmla="*/ 10051 w 18728"/>
                    <a:gd name="T23" fmla="*/ 11336 h 21710"/>
                    <a:gd name="T24" fmla="*/ 12980 w 18728"/>
                    <a:gd name="T25" fmla="*/ 14265 h 21710"/>
                    <a:gd name="T26" fmla="*/ 14356 w 18728"/>
                    <a:gd name="T27" fmla="*/ 12140 h 21710"/>
                    <a:gd name="T28" fmla="*/ 17511 w 18728"/>
                    <a:gd name="T29" fmla="*/ 12499 h 21710"/>
                    <a:gd name="T30" fmla="*/ 17511 w 18728"/>
                    <a:gd name="T31" fmla="*/ 12499 h 21710"/>
                    <a:gd name="T32" fmla="*/ 17512 w 18728"/>
                    <a:gd name="T33" fmla="*/ 12500 h 21710"/>
                    <a:gd name="T34" fmla="*/ 17513 w 18728"/>
                    <a:gd name="T35" fmla="*/ 12501 h 21710"/>
                    <a:gd name="T36" fmla="*/ 17513 w 18728"/>
                    <a:gd name="T37" fmla="*/ 12501 h 21710"/>
                    <a:gd name="T38" fmla="*/ 17872 w 18728"/>
                    <a:gd name="T39" fmla="*/ 15656 h 21710"/>
                    <a:gd name="T40" fmla="*/ 15747 w 18728"/>
                    <a:gd name="T41" fmla="*/ 17032 h 21710"/>
                    <a:gd name="T42" fmla="*/ 17858 w 18728"/>
                    <a:gd name="T43" fmla="*/ 19142 h 21710"/>
                    <a:gd name="T44" fmla="*/ 10855 w 18728"/>
                    <a:gd name="T45" fmla="*/ 21710 h 21710"/>
                    <a:gd name="T46" fmla="*/ 0 w 18728"/>
                    <a:gd name="T47" fmla="*/ 10855 h 21710"/>
                    <a:gd name="T48" fmla="*/ 10855 w 18728"/>
                    <a:gd name="T49" fmla="*/ 0 h 217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8728" h="21710">
                      <a:moveTo>
                        <a:pt x="10855" y="0"/>
                      </a:moveTo>
                      <a:cubicBezTo>
                        <a:pt x="13771" y="0"/>
                        <a:pt x="16417" y="1150"/>
                        <a:pt x="18361" y="3026"/>
                      </a:cubicBezTo>
                      <a:lnTo>
                        <a:pt x="15719" y="5668"/>
                      </a:lnTo>
                      <a:cubicBezTo>
                        <a:pt x="14297" y="5130"/>
                        <a:pt x="15266" y="4414"/>
                        <a:pt x="14409" y="3571"/>
                      </a:cubicBezTo>
                      <a:cubicBezTo>
                        <a:pt x="13540" y="2715"/>
                        <a:pt x="12145" y="3057"/>
                        <a:pt x="11254" y="3930"/>
                      </a:cubicBezTo>
                      <a:lnTo>
                        <a:pt x="11254" y="3929"/>
                      </a:lnTo>
                      <a:cubicBezTo>
                        <a:pt x="11254" y="3930"/>
                        <a:pt x="11253" y="3930"/>
                        <a:pt x="11253" y="3931"/>
                      </a:cubicBezTo>
                      <a:cubicBezTo>
                        <a:pt x="11253" y="3931"/>
                        <a:pt x="11252" y="3931"/>
                        <a:pt x="11252" y="3931"/>
                      </a:cubicBezTo>
                      <a:lnTo>
                        <a:pt x="11252" y="3932"/>
                      </a:lnTo>
                      <a:cubicBezTo>
                        <a:pt x="10379" y="4823"/>
                        <a:pt x="10038" y="6218"/>
                        <a:pt x="10893" y="7087"/>
                      </a:cubicBezTo>
                      <a:cubicBezTo>
                        <a:pt x="11736" y="7944"/>
                        <a:pt x="12453" y="6975"/>
                        <a:pt x="12991" y="8396"/>
                      </a:cubicBezTo>
                      <a:lnTo>
                        <a:pt x="10051" y="11336"/>
                      </a:lnTo>
                      <a:lnTo>
                        <a:pt x="12980" y="14265"/>
                      </a:lnTo>
                      <a:cubicBezTo>
                        <a:pt x="14498" y="13722"/>
                        <a:pt x="13486" y="12996"/>
                        <a:pt x="14356" y="12140"/>
                      </a:cubicBezTo>
                      <a:cubicBezTo>
                        <a:pt x="15225" y="11285"/>
                        <a:pt x="16620" y="11626"/>
                        <a:pt x="17511" y="12499"/>
                      </a:cubicBezTo>
                      <a:lnTo>
                        <a:pt x="17511" y="12499"/>
                      </a:lnTo>
                      <a:cubicBezTo>
                        <a:pt x="17512" y="12499"/>
                        <a:pt x="17512" y="12500"/>
                        <a:pt x="17512" y="12500"/>
                      </a:cubicBezTo>
                      <a:cubicBezTo>
                        <a:pt x="17513" y="12500"/>
                        <a:pt x="17513" y="12501"/>
                        <a:pt x="17513" y="12501"/>
                      </a:cubicBezTo>
                      <a:lnTo>
                        <a:pt x="17513" y="12501"/>
                      </a:lnTo>
                      <a:cubicBezTo>
                        <a:pt x="18386" y="13392"/>
                        <a:pt x="18728" y="14787"/>
                        <a:pt x="17872" y="15656"/>
                      </a:cubicBezTo>
                      <a:cubicBezTo>
                        <a:pt x="17016" y="16526"/>
                        <a:pt x="16290" y="15514"/>
                        <a:pt x="15747" y="17032"/>
                      </a:cubicBezTo>
                      <a:lnTo>
                        <a:pt x="17858" y="19142"/>
                      </a:lnTo>
                      <a:cubicBezTo>
                        <a:pt x="15971" y="20746"/>
                        <a:pt x="13526" y="21710"/>
                        <a:pt x="10855" y="21710"/>
                      </a:cubicBezTo>
                      <a:cubicBezTo>
                        <a:pt x="4860" y="21710"/>
                        <a:pt x="0" y="16850"/>
                        <a:pt x="0" y="10855"/>
                      </a:cubicBezTo>
                      <a:cubicBezTo>
                        <a:pt x="0" y="4860"/>
                        <a:pt x="4860" y="0"/>
                        <a:pt x="10855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ES" sz="2000"/>
                </a:p>
              </p:txBody>
            </p:sp>
          </p:grpSp>
        </p:grpSp>
      </p:grpSp>
      <p:pic>
        <p:nvPicPr>
          <p:cNvPr id="76" name="Picture 4" descr="Resultado de imagen para ods">
            <a:extLst>
              <a:ext uri="{FF2B5EF4-FFF2-40B4-BE49-F238E27FC236}">
                <a16:creationId xmlns:a16="http://schemas.microsoft.com/office/drawing/2014/main" id="{44DD9BB0-646E-47C6-810B-B74AAF3BB0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593" y="301450"/>
            <a:ext cx="592853" cy="592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244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hteck 3">
            <a:extLst>
              <a:ext uri="{FF2B5EF4-FFF2-40B4-BE49-F238E27FC236}">
                <a16:creationId xmlns:a16="http://schemas.microsoft.com/office/drawing/2014/main" id="{F713F256-B995-457E-BCB7-D21E28FF58FF}"/>
              </a:ext>
            </a:extLst>
          </p:cNvPr>
          <p:cNvSpPr/>
          <p:nvPr/>
        </p:nvSpPr>
        <p:spPr>
          <a:xfrm>
            <a:off x="0" y="2322746"/>
            <a:ext cx="12190413" cy="45352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graphicFrame>
        <p:nvGraphicFramePr>
          <p:cNvPr id="30" name="Objekt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795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0" name="Objekt 2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795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8F8B7A0-D549-4FD1-AE78-D1C36FE8F368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47" name="Grafik 46"/>
          <p:cNvPicPr>
            <a:picLocks noChangeAspect="1"/>
          </p:cNvPicPr>
          <p:nvPr/>
        </p:nvPicPr>
        <p:blipFill rotWithShape="1">
          <a:blip r:embed="rId7" cstate="screen">
            <a:lum bright="-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"/>
          <a:stretch/>
        </p:blipFill>
        <p:spPr bwMode="gray">
          <a:xfrm>
            <a:off x="227013" y="2785251"/>
            <a:ext cx="2916237" cy="926015"/>
          </a:xfrm>
          <a:prstGeom prst="rect">
            <a:avLst/>
          </a:prstGeom>
        </p:spPr>
      </p:pic>
      <p:pic>
        <p:nvPicPr>
          <p:cNvPr id="61" name="Grafik 60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85"/>
          <a:stretch/>
        </p:blipFill>
        <p:spPr bwMode="gray">
          <a:xfrm>
            <a:off x="9047162" y="2778329"/>
            <a:ext cx="2916235" cy="932400"/>
          </a:xfrm>
          <a:prstGeom prst="rect">
            <a:avLst/>
          </a:prstGeom>
        </p:spPr>
      </p:pic>
      <p:pic>
        <p:nvPicPr>
          <p:cNvPr id="62" name="Grafik 61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6095205" y="2778104"/>
            <a:ext cx="2951957" cy="933162"/>
          </a:xfrm>
          <a:prstGeom prst="rect">
            <a:avLst/>
          </a:prstGeom>
        </p:spPr>
      </p:pic>
      <p:pic>
        <p:nvPicPr>
          <p:cNvPr id="63" name="Grafik 62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135254" y="2777949"/>
            <a:ext cx="2951956" cy="933159"/>
          </a:xfrm>
          <a:prstGeom prst="rect">
            <a:avLst/>
          </a:prstGeom>
        </p:spPr>
      </p:pic>
      <p:sp>
        <p:nvSpPr>
          <p:cNvPr id="64" name="Textfeld 63"/>
          <p:cNvSpPr txBox="1"/>
          <p:nvPr/>
        </p:nvSpPr>
        <p:spPr bwMode="gray">
          <a:xfrm>
            <a:off x="9120018" y="3783046"/>
            <a:ext cx="2365183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>
                <a:solidFill>
                  <a:schemeClr val="bg1">
                    <a:lumMod val="50000"/>
                  </a:schemeClr>
                </a:solidFill>
              </a:rPr>
              <a:t>…</a:t>
            </a:r>
            <a:r>
              <a:rPr lang="en-US" sz="1600" err="1">
                <a:solidFill>
                  <a:schemeClr val="bg1">
                    <a:lumMod val="50000"/>
                  </a:schemeClr>
                </a:solidFill>
              </a:rPr>
              <a:t>más</a:t>
            </a:r>
            <a:r>
              <a:rPr lang="en-US" sz="160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600" err="1">
                <a:solidFill>
                  <a:schemeClr val="bg1">
                    <a:lumMod val="50000"/>
                  </a:schemeClr>
                </a:solidFill>
              </a:rPr>
              <a:t>alimentos</a:t>
            </a:r>
            <a:r>
              <a:rPr lang="en-US" sz="1600">
                <a:solidFill>
                  <a:schemeClr val="bg1">
                    <a:lumMod val="50000"/>
                  </a:schemeClr>
                </a:solidFill>
              </a:rPr>
              <a:t> se </a:t>
            </a:r>
            <a:r>
              <a:rPr lang="en-US" sz="1600" err="1">
                <a:solidFill>
                  <a:schemeClr val="bg1">
                    <a:lumMod val="50000"/>
                  </a:schemeClr>
                </a:solidFill>
              </a:rPr>
              <a:t>necesitarán</a:t>
            </a:r>
            <a:r>
              <a:rPr lang="en-US" sz="1600">
                <a:solidFill>
                  <a:schemeClr val="bg1">
                    <a:lumMod val="50000"/>
                  </a:schemeClr>
                </a:solidFill>
              </a:rPr>
              <a:t> para el 2050</a:t>
            </a:r>
          </a:p>
        </p:txBody>
      </p:sp>
      <p:sp>
        <p:nvSpPr>
          <p:cNvPr id="65" name="Textfeld 64"/>
          <p:cNvSpPr txBox="1"/>
          <p:nvPr/>
        </p:nvSpPr>
        <p:spPr bwMode="gray">
          <a:xfrm>
            <a:off x="6117692" y="3784308"/>
            <a:ext cx="2951956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>
                <a:solidFill>
                  <a:schemeClr val="bg1">
                    <a:lumMod val="50000"/>
                  </a:schemeClr>
                </a:solidFill>
              </a:rPr>
              <a:t>…</a:t>
            </a:r>
            <a:r>
              <a:rPr lang="es-ES_tradnl" sz="1600">
                <a:solidFill>
                  <a:schemeClr val="bg1">
                    <a:lumMod val="50000"/>
                  </a:schemeClr>
                </a:solidFill>
              </a:rPr>
              <a:t>más de consumo de energía primaria en el año 2050</a:t>
            </a:r>
          </a:p>
        </p:txBody>
      </p:sp>
      <p:sp>
        <p:nvSpPr>
          <p:cNvPr id="66" name="Textfeld 65"/>
          <p:cNvSpPr txBox="1"/>
          <p:nvPr/>
        </p:nvSpPr>
        <p:spPr bwMode="gray">
          <a:xfrm>
            <a:off x="3143250" y="3777825"/>
            <a:ext cx="2924072" cy="387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s-ES_tradnl" sz="1400">
                <a:solidFill>
                  <a:schemeClr val="bg1">
                    <a:lumMod val="50000"/>
                  </a:schemeClr>
                </a:solidFill>
              </a:rPr>
              <a:t>…de la población mundial, en el 2050 vivirá en las grandes ciudades</a:t>
            </a:r>
          </a:p>
        </p:txBody>
      </p:sp>
      <p:sp>
        <p:nvSpPr>
          <p:cNvPr id="74" name="Textfeld 73"/>
          <p:cNvSpPr txBox="1"/>
          <p:nvPr/>
        </p:nvSpPr>
        <p:spPr bwMode="gray">
          <a:xfrm>
            <a:off x="243262" y="3845568"/>
            <a:ext cx="1879589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>
                <a:solidFill>
                  <a:schemeClr val="bg1">
                    <a:lumMod val="50000"/>
                  </a:schemeClr>
                </a:solidFill>
              </a:rPr>
              <a:t>…para el </a:t>
            </a:r>
            <a:r>
              <a:rPr lang="en-US" sz="1600" err="1">
                <a:solidFill>
                  <a:schemeClr val="bg1">
                    <a:lumMod val="50000"/>
                  </a:schemeClr>
                </a:solidFill>
              </a:rPr>
              <a:t>año</a:t>
            </a:r>
            <a:r>
              <a:rPr lang="en-US" sz="1600">
                <a:solidFill>
                  <a:schemeClr val="bg1">
                    <a:lumMod val="50000"/>
                  </a:schemeClr>
                </a:solidFill>
              </a:rPr>
              <a:t> 2050</a:t>
            </a:r>
          </a:p>
        </p:txBody>
      </p:sp>
      <p:sp>
        <p:nvSpPr>
          <p:cNvPr id="67" name="Textfeld 66"/>
          <p:cNvSpPr txBox="1"/>
          <p:nvPr/>
        </p:nvSpPr>
        <p:spPr bwMode="gray">
          <a:xfrm>
            <a:off x="243262" y="5524602"/>
            <a:ext cx="979435" cy="2215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>
                <a:solidFill>
                  <a:schemeClr val="bg1">
                    <a:lumMod val="50000"/>
                  </a:schemeClr>
                </a:solidFill>
              </a:rPr>
              <a:t>Agricultura</a:t>
            </a:r>
          </a:p>
        </p:txBody>
      </p:sp>
      <p:sp>
        <p:nvSpPr>
          <p:cNvPr id="68" name="Textfeld 67"/>
          <p:cNvSpPr txBox="1"/>
          <p:nvPr/>
        </p:nvSpPr>
        <p:spPr bwMode="gray">
          <a:xfrm>
            <a:off x="1942206" y="5524602"/>
            <a:ext cx="1635756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s-ES_tradnl" sz="1600">
                <a:solidFill>
                  <a:schemeClr val="bg1">
                    <a:lumMod val="50000"/>
                  </a:schemeClr>
                </a:solidFill>
              </a:rPr>
              <a:t>Salud &amp; </a:t>
            </a:r>
            <a:br>
              <a:rPr lang="es-ES_tradnl" sz="1600">
                <a:solidFill>
                  <a:schemeClr val="bg1">
                    <a:lumMod val="50000"/>
                  </a:schemeClr>
                </a:solidFill>
              </a:rPr>
            </a:br>
            <a:r>
              <a:rPr lang="es-ES_tradnl" sz="1600">
                <a:solidFill>
                  <a:schemeClr val="bg1">
                    <a:lumMod val="50000"/>
                  </a:schemeClr>
                </a:solidFill>
              </a:rPr>
              <a:t>nutrición</a:t>
            </a:r>
          </a:p>
        </p:txBody>
      </p:sp>
      <p:sp>
        <p:nvSpPr>
          <p:cNvPr id="69" name="Textfeld 68"/>
          <p:cNvSpPr txBox="1"/>
          <p:nvPr/>
        </p:nvSpPr>
        <p:spPr bwMode="gray">
          <a:xfrm>
            <a:off x="3644122" y="5524602"/>
            <a:ext cx="1718551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s-ES_tradnl" sz="1600">
                <a:solidFill>
                  <a:schemeClr val="bg1">
                    <a:lumMod val="50000"/>
                  </a:schemeClr>
                </a:solidFill>
              </a:rPr>
              <a:t>Energía &amp; </a:t>
            </a:r>
            <a:br>
              <a:rPr lang="es-ES_tradnl" sz="1600">
                <a:solidFill>
                  <a:schemeClr val="bg1">
                    <a:lumMod val="50000"/>
                  </a:schemeClr>
                </a:solidFill>
              </a:rPr>
            </a:br>
            <a:r>
              <a:rPr lang="es-ES_tradnl" sz="1600">
                <a:solidFill>
                  <a:schemeClr val="bg1">
                    <a:lumMod val="50000"/>
                  </a:schemeClr>
                </a:solidFill>
              </a:rPr>
              <a:t>recursos</a:t>
            </a:r>
          </a:p>
        </p:txBody>
      </p:sp>
      <p:sp>
        <p:nvSpPr>
          <p:cNvPr id="70" name="Textfeld 69"/>
          <p:cNvSpPr txBox="1"/>
          <p:nvPr/>
        </p:nvSpPr>
        <p:spPr bwMode="gray">
          <a:xfrm>
            <a:off x="8698286" y="5524602"/>
            <a:ext cx="1042337" cy="2215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s-ES_tradnl" sz="1600">
                <a:solidFill>
                  <a:schemeClr val="bg1">
                    <a:lumMod val="50000"/>
                  </a:schemeClr>
                </a:solidFill>
              </a:rPr>
              <a:t>Transporte</a:t>
            </a:r>
            <a:r>
              <a:rPr lang="en-US" sz="1600">
                <a:solidFill>
                  <a:schemeClr val="bg1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71" name="Textfeld 70"/>
          <p:cNvSpPr txBox="1"/>
          <p:nvPr/>
        </p:nvSpPr>
        <p:spPr bwMode="gray">
          <a:xfrm>
            <a:off x="5363454" y="5524602"/>
            <a:ext cx="1447512" cy="4431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s-ES_tradnl" sz="1600">
                <a:solidFill>
                  <a:schemeClr val="bg1">
                    <a:lumMod val="50000"/>
                  </a:schemeClr>
                </a:solidFill>
              </a:rPr>
              <a:t>Construcción &amp; </a:t>
            </a:r>
            <a:br>
              <a:rPr lang="es-ES_tradnl" sz="1600">
                <a:solidFill>
                  <a:schemeClr val="bg1">
                    <a:lumMod val="50000"/>
                  </a:schemeClr>
                </a:solidFill>
              </a:rPr>
            </a:br>
            <a:r>
              <a:rPr lang="es-ES_tradnl" sz="1600">
                <a:solidFill>
                  <a:schemeClr val="bg1">
                    <a:lumMod val="50000"/>
                  </a:schemeClr>
                </a:solidFill>
              </a:rPr>
              <a:t>vivienda</a:t>
            </a:r>
          </a:p>
        </p:txBody>
      </p:sp>
      <p:sp>
        <p:nvSpPr>
          <p:cNvPr id="72" name="Textfeld 71"/>
          <p:cNvSpPr txBox="1"/>
          <p:nvPr/>
        </p:nvSpPr>
        <p:spPr bwMode="gray">
          <a:xfrm>
            <a:off x="7012375" y="5524602"/>
            <a:ext cx="1580054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s-ES_tradnl" sz="1600">
                <a:solidFill>
                  <a:schemeClr val="bg1">
                    <a:lumMod val="50000"/>
                  </a:schemeClr>
                </a:solidFill>
              </a:rPr>
              <a:t>Bienes de consumo</a:t>
            </a:r>
          </a:p>
        </p:txBody>
      </p:sp>
      <p:pic>
        <p:nvPicPr>
          <p:cNvPr id="82" name="Grafik 81"/>
          <p:cNvPicPr>
            <a:picLocks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7005557" y="4416536"/>
            <a:ext cx="1674379" cy="1058400"/>
          </a:xfrm>
          <a:prstGeom prst="rect">
            <a:avLst/>
          </a:prstGeom>
        </p:spPr>
      </p:pic>
      <p:pic>
        <p:nvPicPr>
          <p:cNvPr id="86" name="Grafik 85"/>
          <p:cNvPicPr>
            <a:picLocks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 bwMode="gray">
          <a:xfrm>
            <a:off x="1942349" y="4416536"/>
            <a:ext cx="1709607" cy="1058400"/>
          </a:xfrm>
          <a:prstGeom prst="rect">
            <a:avLst/>
          </a:prstGeom>
        </p:spPr>
      </p:pic>
      <p:sp>
        <p:nvSpPr>
          <p:cNvPr id="87" name="Textfeld 86"/>
          <p:cNvSpPr txBox="1"/>
          <p:nvPr/>
        </p:nvSpPr>
        <p:spPr bwMode="gray">
          <a:xfrm>
            <a:off x="10360863" y="5524602"/>
            <a:ext cx="2167892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s-ES" sz="1600">
                <a:solidFill>
                  <a:schemeClr val="bg1">
                    <a:lumMod val="50000"/>
                  </a:schemeClr>
                </a:solidFill>
              </a:rPr>
              <a:t>Material eléctrico</a:t>
            </a:r>
            <a:br>
              <a:rPr lang="es-ES" sz="1600">
                <a:solidFill>
                  <a:schemeClr val="bg1">
                    <a:lumMod val="50000"/>
                  </a:schemeClr>
                </a:solidFill>
              </a:rPr>
            </a:br>
            <a:r>
              <a:rPr lang="es-ES" sz="1600">
                <a:solidFill>
                  <a:schemeClr val="bg1">
                    <a:lumMod val="50000"/>
                  </a:schemeClr>
                </a:solidFill>
              </a:rPr>
              <a:t>&amp; electrónica</a:t>
            </a:r>
          </a:p>
        </p:txBody>
      </p:sp>
      <p:pic>
        <p:nvPicPr>
          <p:cNvPr id="93" name="Grafik 92"/>
          <p:cNvPicPr>
            <a:picLocks/>
          </p:cNvPicPr>
          <p:nvPr/>
        </p:nvPicPr>
        <p:blipFill rotWithShape="1">
          <a:blip r:embed="rId13" cstate="screen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22819" y="4416536"/>
            <a:ext cx="1653542" cy="1058400"/>
          </a:xfrm>
          <a:prstGeom prst="rect">
            <a:avLst/>
          </a:prstGeom>
        </p:spPr>
      </p:pic>
      <p:pic>
        <p:nvPicPr>
          <p:cNvPr id="94" name="Grafik 93"/>
          <p:cNvPicPr>
            <a:picLocks/>
          </p:cNvPicPr>
          <p:nvPr/>
        </p:nvPicPr>
        <p:blipFill rotWithShape="1">
          <a:blip r:embed="rId15" cstate="screen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679936" y="4416536"/>
            <a:ext cx="1644811" cy="1058400"/>
          </a:xfrm>
          <a:prstGeom prst="rect">
            <a:avLst/>
          </a:prstGeom>
        </p:spPr>
      </p:pic>
      <p:pic>
        <p:nvPicPr>
          <p:cNvPr id="95" name="Grafik 94"/>
          <p:cNvPicPr>
            <a:picLocks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2674" y="4416536"/>
            <a:ext cx="1644811" cy="1058400"/>
          </a:xfrm>
          <a:prstGeom prst="rect">
            <a:avLst/>
          </a:prstGeom>
        </p:spPr>
      </p:pic>
      <p:pic>
        <p:nvPicPr>
          <p:cNvPr id="96" name="Grafik 95"/>
          <p:cNvPicPr>
            <a:picLocks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44411" y="4416536"/>
            <a:ext cx="1731331" cy="1058400"/>
          </a:xfrm>
          <a:prstGeom prst="rect">
            <a:avLst/>
          </a:prstGeom>
        </p:spPr>
      </p:pic>
      <p:grpSp>
        <p:nvGrpSpPr>
          <p:cNvPr id="75" name="Gruppieren 74"/>
          <p:cNvGrpSpPr/>
          <p:nvPr/>
        </p:nvGrpSpPr>
        <p:grpSpPr bwMode="gray">
          <a:xfrm>
            <a:off x="3289543" y="2458440"/>
            <a:ext cx="984453" cy="970560"/>
            <a:chOff x="3181662" y="4161281"/>
            <a:chExt cx="827570" cy="815891"/>
          </a:xfrm>
        </p:grpSpPr>
        <p:sp>
          <p:nvSpPr>
            <p:cNvPr id="76" name="Ellipse 75"/>
            <p:cNvSpPr/>
            <p:nvPr/>
          </p:nvSpPr>
          <p:spPr bwMode="gray">
            <a:xfrm>
              <a:off x="3181662" y="4161281"/>
              <a:ext cx="827570" cy="815891"/>
            </a:xfrm>
            <a:prstGeom prst="ellipse">
              <a:avLst/>
            </a:prstGeom>
            <a:solidFill>
              <a:schemeClr val="accent1"/>
            </a:solidFill>
            <a:ln w="762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lnSpc>
                  <a:spcPct val="90000"/>
                </a:lnSpc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77" name="Rechteck 76"/>
            <p:cNvSpPr/>
            <p:nvPr/>
          </p:nvSpPr>
          <p:spPr bwMode="gray">
            <a:xfrm>
              <a:off x="3401401" y="4464442"/>
              <a:ext cx="388094" cy="209571"/>
            </a:xfrm>
            <a:prstGeom prst="rect">
              <a:avLst/>
            </a:prstGeom>
          </p:spPr>
          <p:txBody>
            <a:bodyPr vert="horz" wrap="non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>
                  <a:solidFill>
                    <a:srgbClr val="FFFFFF"/>
                  </a:solidFill>
                </a:rPr>
                <a:t>70%</a:t>
              </a:r>
            </a:p>
          </p:txBody>
        </p:sp>
      </p:grpSp>
      <p:grpSp>
        <p:nvGrpSpPr>
          <p:cNvPr id="78" name="Gruppieren 77"/>
          <p:cNvGrpSpPr/>
          <p:nvPr/>
        </p:nvGrpSpPr>
        <p:grpSpPr bwMode="gray">
          <a:xfrm>
            <a:off x="6241499" y="2458440"/>
            <a:ext cx="984452" cy="970560"/>
            <a:chOff x="5279794" y="4161281"/>
            <a:chExt cx="827569" cy="815891"/>
          </a:xfrm>
        </p:grpSpPr>
        <p:sp>
          <p:nvSpPr>
            <p:cNvPr id="79" name="Ellipse 78"/>
            <p:cNvSpPr/>
            <p:nvPr/>
          </p:nvSpPr>
          <p:spPr bwMode="gray">
            <a:xfrm>
              <a:off x="5279794" y="4161281"/>
              <a:ext cx="827569" cy="815891"/>
            </a:xfrm>
            <a:prstGeom prst="ellipse">
              <a:avLst/>
            </a:prstGeom>
            <a:solidFill>
              <a:schemeClr val="accent1"/>
            </a:solidFill>
            <a:ln w="762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lnSpc>
                  <a:spcPct val="90000"/>
                </a:lnSpc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81" name="Rechteck 80"/>
            <p:cNvSpPr/>
            <p:nvPr/>
          </p:nvSpPr>
          <p:spPr bwMode="gray">
            <a:xfrm>
              <a:off x="5499532" y="4464442"/>
              <a:ext cx="388094" cy="209571"/>
            </a:xfrm>
            <a:prstGeom prst="rect">
              <a:avLst/>
            </a:prstGeom>
          </p:spPr>
          <p:txBody>
            <a:bodyPr vert="horz" wrap="non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>
                  <a:solidFill>
                    <a:srgbClr val="FFFFFF"/>
                  </a:solidFill>
                </a:rPr>
                <a:t>50%</a:t>
              </a:r>
            </a:p>
          </p:txBody>
        </p:sp>
      </p:grpSp>
      <p:grpSp>
        <p:nvGrpSpPr>
          <p:cNvPr id="83" name="Gruppieren 82"/>
          <p:cNvGrpSpPr/>
          <p:nvPr/>
        </p:nvGrpSpPr>
        <p:grpSpPr bwMode="gray">
          <a:xfrm>
            <a:off x="373618" y="2448754"/>
            <a:ext cx="984452" cy="970560"/>
            <a:chOff x="1061736" y="4159733"/>
            <a:chExt cx="827569" cy="815891"/>
          </a:xfrm>
        </p:grpSpPr>
        <p:sp>
          <p:nvSpPr>
            <p:cNvPr id="84" name="Ellipse 83"/>
            <p:cNvSpPr/>
            <p:nvPr/>
          </p:nvSpPr>
          <p:spPr bwMode="gray">
            <a:xfrm>
              <a:off x="1061736" y="4159733"/>
              <a:ext cx="827569" cy="815891"/>
            </a:xfrm>
            <a:prstGeom prst="ellipse">
              <a:avLst/>
            </a:prstGeom>
            <a:solidFill>
              <a:schemeClr val="accent1"/>
            </a:solidFill>
            <a:ln w="762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lnSpc>
                  <a:spcPct val="90000"/>
                </a:lnSpc>
              </a:pPr>
              <a:endParaRPr lang="en-US" sz="1200" b="1">
                <a:solidFill>
                  <a:srgbClr val="000000"/>
                </a:solidFill>
              </a:endParaRPr>
            </a:p>
          </p:txBody>
        </p:sp>
        <p:sp>
          <p:nvSpPr>
            <p:cNvPr id="85" name="Rechteck 84"/>
            <p:cNvSpPr/>
            <p:nvPr/>
          </p:nvSpPr>
          <p:spPr bwMode="gray">
            <a:xfrm>
              <a:off x="1192537" y="4474536"/>
              <a:ext cx="565970" cy="186285"/>
            </a:xfrm>
            <a:prstGeom prst="rect">
              <a:avLst/>
            </a:prstGeom>
          </p:spPr>
          <p:txBody>
            <a:bodyPr vert="horz" wrap="none" lIns="0" tIns="0" rIns="0" bIns="0" anchor="ctr" anchorCtr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>
                  <a:solidFill>
                    <a:srgbClr val="FFFFFF"/>
                  </a:solidFill>
                </a:rPr>
                <a:t>~10bn</a:t>
              </a:r>
            </a:p>
          </p:txBody>
        </p:sp>
      </p:grpSp>
      <p:grpSp>
        <p:nvGrpSpPr>
          <p:cNvPr id="88" name="Gruppieren 87"/>
          <p:cNvGrpSpPr/>
          <p:nvPr/>
        </p:nvGrpSpPr>
        <p:grpSpPr bwMode="gray">
          <a:xfrm>
            <a:off x="9193455" y="2458440"/>
            <a:ext cx="984452" cy="970560"/>
            <a:chOff x="7356064" y="4140737"/>
            <a:chExt cx="827569" cy="815891"/>
          </a:xfrm>
        </p:grpSpPr>
        <p:sp>
          <p:nvSpPr>
            <p:cNvPr id="89" name="Ellipse 88"/>
            <p:cNvSpPr/>
            <p:nvPr/>
          </p:nvSpPr>
          <p:spPr bwMode="gray">
            <a:xfrm>
              <a:off x="7356064" y="4140737"/>
              <a:ext cx="827569" cy="815891"/>
            </a:xfrm>
            <a:prstGeom prst="ellipse">
              <a:avLst/>
            </a:prstGeom>
            <a:solidFill>
              <a:schemeClr val="accent1"/>
            </a:solidFill>
            <a:ln w="762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lnSpc>
                  <a:spcPct val="90000"/>
                </a:lnSpc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90" name="Rechteck 89"/>
            <p:cNvSpPr/>
            <p:nvPr/>
          </p:nvSpPr>
          <p:spPr bwMode="gray">
            <a:xfrm>
              <a:off x="7575802" y="4443898"/>
              <a:ext cx="388094" cy="209571"/>
            </a:xfrm>
            <a:prstGeom prst="rect">
              <a:avLst/>
            </a:prstGeom>
          </p:spPr>
          <p:txBody>
            <a:bodyPr vert="horz" wrap="none" lIns="0" tIns="0" rIns="0" bIns="0" anchor="ctr" anchorCtr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>
                  <a:solidFill>
                    <a:srgbClr val="FFFFFF"/>
                  </a:solidFill>
                </a:rPr>
                <a:t>30%</a:t>
              </a:r>
            </a:p>
          </p:txBody>
        </p:sp>
      </p:grp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57B64C27-C5F8-40CB-B0B0-A43699EE806A}"/>
              </a:ext>
            </a:extLst>
          </p:cNvPr>
          <p:cNvSpPr/>
          <p:nvPr/>
        </p:nvSpPr>
        <p:spPr>
          <a:xfrm rot="10800000">
            <a:off x="312531" y="4229976"/>
            <a:ext cx="11745095" cy="182827"/>
          </a:xfrm>
          <a:prstGeom prst="triangle">
            <a:avLst>
              <a:gd name="adj" fmla="val 49919"/>
            </a:avLst>
          </a:prstGeom>
          <a:solidFill>
            <a:schemeClr val="accent6">
              <a:lumMod val="20000"/>
              <a:lumOff val="80000"/>
            </a:schemeClr>
          </a:solidFill>
          <a:ln w="38100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platzhalter 31">
            <a:extLst>
              <a:ext uri="{FF2B5EF4-FFF2-40B4-BE49-F238E27FC236}">
                <a16:creationId xmlns:a16="http://schemas.microsoft.com/office/drawing/2014/main" id="{F706E45F-514B-4A40-9AF4-A8363E9DC9B7}"/>
              </a:ext>
            </a:extLst>
          </p:cNvPr>
          <p:cNvSpPr txBox="1">
            <a:spLocks/>
          </p:cNvSpPr>
          <p:nvPr/>
        </p:nvSpPr>
        <p:spPr>
          <a:xfrm>
            <a:off x="446779" y="830585"/>
            <a:ext cx="11268972" cy="1313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lang="de-DE" sz="2000" b="0" i="0" kern="1200" dirty="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lang="de-DE" sz="2000" b="0" i="0" kern="1200" dirty="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lang="de-DE" sz="2000" b="0" i="0" kern="1200" dirty="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lang="de-DE" sz="2000" b="0" i="0" kern="1200" dirty="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lang="de-DE" sz="2000" b="0" i="0" kern="1200" dirty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spcAft>
                <a:spcPts val="0"/>
              </a:spcAft>
              <a:buClr>
                <a:schemeClr val="bg2"/>
              </a:buClr>
              <a:buNone/>
              <a:tabLst>
                <a:tab pos="361950" algn="l"/>
              </a:tabLst>
            </a:pPr>
            <a:r>
              <a:rPr lang="es-ES_tradnl" sz="4000" b="1">
                <a:solidFill>
                  <a:schemeClr val="accent1"/>
                </a:solidFill>
              </a:rPr>
              <a:t>La química facilita el camino para satisfacer las necesidades actuales y del futuro</a:t>
            </a:r>
          </a:p>
          <a:p>
            <a:pPr marL="0" lvl="1" indent="0">
              <a:lnSpc>
                <a:spcPct val="100000"/>
              </a:lnSpc>
              <a:spcAft>
                <a:spcPts val="0"/>
              </a:spcAft>
              <a:buClr>
                <a:schemeClr val="bg2"/>
              </a:buClr>
              <a:buNone/>
              <a:tabLst>
                <a:tab pos="361950" algn="l"/>
              </a:tabLst>
            </a:pPr>
            <a:endParaRPr lang="es-ES_tradnl" sz="2400">
              <a:solidFill>
                <a:schemeClr val="accent1"/>
              </a:solidFill>
            </a:endParaRPr>
          </a:p>
        </p:txBody>
      </p: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456DBE51-D060-4A7B-9B12-1846FD97C925}"/>
              </a:ext>
            </a:extLst>
          </p:cNvPr>
          <p:cNvGrpSpPr/>
          <p:nvPr/>
        </p:nvGrpSpPr>
        <p:grpSpPr>
          <a:xfrm>
            <a:off x="9601200" y="6091200"/>
            <a:ext cx="2592000" cy="540000"/>
            <a:chOff x="9597610" y="6092575"/>
            <a:chExt cx="2592000" cy="540000"/>
          </a:xfrm>
        </p:grpSpPr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B37F942E-280A-49FF-9D76-B5E5E375A2ED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51" name="Grafik 50">
              <a:extLst>
                <a:ext uri="{FF2B5EF4-FFF2-40B4-BE49-F238E27FC236}">
                  <a16:creationId xmlns:a16="http://schemas.microsoft.com/office/drawing/2014/main" id="{1ED6498C-DBA5-4BA1-9905-6CBCCF9A5D3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0810" y="6229375"/>
              <a:ext cx="808391" cy="292882"/>
            </a:xfrm>
            <a:prstGeom prst="rect">
              <a:avLst/>
            </a:prstGeom>
          </p:spPr>
        </p:pic>
      </p:grpSp>
      <p:pic>
        <p:nvPicPr>
          <p:cNvPr id="54" name="Grafik 2">
            <a:extLst>
              <a:ext uri="{FF2B5EF4-FFF2-40B4-BE49-F238E27FC236}">
                <a16:creationId xmlns:a16="http://schemas.microsoft.com/office/drawing/2014/main" id="{FE8D5579-03BB-4DEB-B9C0-110BA2069E2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263" y="4431997"/>
            <a:ext cx="1696299" cy="1060467"/>
          </a:xfrm>
          <a:prstGeom prst="rect">
            <a:avLst/>
          </a:prstGeom>
        </p:spPr>
      </p:pic>
      <p:pic>
        <p:nvPicPr>
          <p:cNvPr id="46" name="Picture 4" descr="Resultado de imagen para ods">
            <a:extLst>
              <a:ext uri="{FF2B5EF4-FFF2-40B4-BE49-F238E27FC236}">
                <a16:creationId xmlns:a16="http://schemas.microsoft.com/office/drawing/2014/main" id="{CAD8D40C-F6FA-46F4-86C5-A8615848D4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593" y="301450"/>
            <a:ext cx="592853" cy="592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2124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02C1CC45-ED33-430B-A939-2D5E70C79C9C}"/>
              </a:ext>
            </a:extLst>
          </p:cNvPr>
          <p:cNvSpPr/>
          <p:nvPr/>
        </p:nvSpPr>
        <p:spPr>
          <a:xfrm>
            <a:off x="7056550" y="10633"/>
            <a:ext cx="51303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3" name="Imagen 2" descr="Escala de tiempo&#10;&#10;Descripción generada automáticamente">
            <a:extLst>
              <a:ext uri="{FF2B5EF4-FFF2-40B4-BE49-F238E27FC236}">
                <a16:creationId xmlns:a16="http://schemas.microsoft.com/office/drawing/2014/main" id="{D7AC91EF-4A36-4A2B-A149-3188B8DA1941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7060019" cy="6858000"/>
          </a:xfrm>
          <a:prstGeom prst="rect">
            <a:avLst/>
          </a:prstGeom>
        </p:spPr>
      </p:pic>
      <p:pic>
        <p:nvPicPr>
          <p:cNvPr id="4" name="Picture 4" descr="Resultado de imagen para ods un">
            <a:hlinkClick r:id="rId3"/>
            <a:extLst>
              <a:ext uri="{FF2B5EF4-FFF2-40B4-BE49-F238E27FC236}">
                <a16:creationId xmlns:a16="http://schemas.microsoft.com/office/drawing/2014/main" id="{8F0B6A8B-ECDE-4BFA-BF6B-A80E3727A3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38"/>
          <a:stretch/>
        </p:blipFill>
        <p:spPr bwMode="auto">
          <a:xfrm>
            <a:off x="7128743" y="2838308"/>
            <a:ext cx="4993628" cy="2488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5123C481-11B8-488D-BA53-A136E5E5E628}"/>
              </a:ext>
            </a:extLst>
          </p:cNvPr>
          <p:cNvSpPr txBox="1">
            <a:spLocks/>
          </p:cNvSpPr>
          <p:nvPr/>
        </p:nvSpPr>
        <p:spPr>
          <a:xfrm>
            <a:off x="7682208" y="1178790"/>
            <a:ext cx="4589425" cy="853200"/>
          </a:xfrm>
          <a:prstGeom prst="rect">
            <a:avLst/>
          </a:prstGeom>
        </p:spPr>
        <p:txBody>
          <a:bodyPr/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800" b="1" dirty="0">
                <a:solidFill>
                  <a:schemeClr val="bg1"/>
                </a:solidFill>
              </a:rPr>
              <a:t>Objetivos de Desarrollo de Sostenible (ODS)</a:t>
            </a:r>
            <a:br>
              <a:rPr lang="es-ES" sz="2800" b="1" dirty="0">
                <a:solidFill>
                  <a:schemeClr val="bg1"/>
                </a:solidFill>
              </a:rPr>
            </a:br>
            <a:r>
              <a:rPr lang="es-ES" sz="2800" b="1" dirty="0">
                <a:solidFill>
                  <a:schemeClr val="bg1"/>
                </a:solidFill>
              </a:rPr>
              <a:t>Naciones Unidas </a:t>
            </a:r>
          </a:p>
        </p:txBody>
      </p:sp>
      <p:pic>
        <p:nvPicPr>
          <p:cNvPr id="6" name="Picture 4" descr="Resultado de imagen para ods">
            <a:extLst>
              <a:ext uri="{FF2B5EF4-FFF2-40B4-BE49-F238E27FC236}">
                <a16:creationId xmlns:a16="http://schemas.microsoft.com/office/drawing/2014/main" id="{9628D43F-2B60-4B52-8EC8-12C5AB8FA1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593" y="301450"/>
            <a:ext cx="592853" cy="592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26096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4201F69-9971-4BB9-ABCB-D389F961BA9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7" imgW="347" imgH="348" progId="TCLayout.ActiveDocument.1">
                  <p:embed/>
                </p:oleObj>
              </mc:Choice>
              <mc:Fallback>
                <p:oleObj name="think-cell Folie" r:id="rId7" imgW="347" imgH="34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54201F69-9971-4BB9-ABCB-D389F961BA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E53797F4-5663-4A72-877B-F1AAF61C12E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AAD4843-9A32-4B91-97C0-97074AFD7D31}"/>
              </a:ext>
            </a:extLst>
          </p:cNvPr>
          <p:cNvSpPr/>
          <p:nvPr/>
        </p:nvSpPr>
        <p:spPr>
          <a:xfrm>
            <a:off x="218306" y="1515748"/>
            <a:ext cx="9226777" cy="48895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9" name="Titel 438">
            <a:extLst>
              <a:ext uri="{FF2B5EF4-FFF2-40B4-BE49-F238E27FC236}">
                <a16:creationId xmlns:a16="http://schemas.microsoft.com/office/drawing/2014/main" id="{F2DB3152-CEA2-4AD5-86DE-FD2FC3F921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05" y="129692"/>
            <a:ext cx="9226777" cy="853200"/>
          </a:xfrm>
        </p:spPr>
        <p:txBody>
          <a:bodyPr/>
          <a:lstStyle/>
          <a:p>
            <a:r>
              <a:rPr lang="en-US" sz="3200" dirty="0">
                <a:solidFill>
                  <a:schemeClr val="accent1"/>
                </a:solidFill>
              </a:rPr>
              <a:t>Proyecto ChemCycling</a:t>
            </a:r>
            <a:r>
              <a:rPr lang="en-US" sz="3200" baseline="30000" dirty="0">
                <a:solidFill>
                  <a:schemeClr val="accent1"/>
                </a:solidFill>
              </a:rPr>
              <a:t>TM</a:t>
            </a:r>
            <a:br>
              <a:rPr lang="en-US" sz="3200" dirty="0">
                <a:solidFill>
                  <a:schemeClr val="accent1"/>
                </a:solidFill>
              </a:rPr>
            </a:br>
            <a:r>
              <a:rPr lang="es-ES_tradnl" sz="3200" b="0" dirty="0">
                <a:solidFill>
                  <a:schemeClr val="accent1"/>
                </a:solidFill>
              </a:rPr>
              <a:t>Abriendo nuevos caminos en el reciclaje de residuos plásticos</a:t>
            </a:r>
            <a:endParaRPr lang="de-DE" sz="1600" dirty="0">
              <a:solidFill>
                <a:schemeClr val="accent1"/>
              </a:solidFill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3BC568C4-46F5-4CAE-B5AB-D6E38E19F720}"/>
              </a:ext>
            </a:extLst>
          </p:cNvPr>
          <p:cNvSpPr/>
          <p:nvPr/>
        </p:nvSpPr>
        <p:spPr>
          <a:xfrm>
            <a:off x="2713331" y="1626359"/>
            <a:ext cx="2279949" cy="1662322"/>
          </a:xfrm>
          <a:custGeom>
            <a:avLst/>
            <a:gdLst>
              <a:gd name="connsiteX0" fmla="*/ 0 w 2744639"/>
              <a:gd name="connsiteY0" fmla="*/ 1314513 h 2001130"/>
              <a:gd name="connsiteX1" fmla="*/ 779736 w 2744639"/>
              <a:gd name="connsiteY1" fmla="*/ 1308759 h 2001130"/>
              <a:gd name="connsiteX2" fmla="*/ 1173004 w 2744639"/>
              <a:gd name="connsiteY2" fmla="*/ 2001131 h 2001130"/>
              <a:gd name="connsiteX3" fmla="*/ 2343393 w 2744639"/>
              <a:gd name="connsiteY3" fmla="*/ 1357933 h 2001130"/>
              <a:gd name="connsiteX4" fmla="*/ 2744639 w 2744639"/>
              <a:gd name="connsiteY4" fmla="*/ 673931 h 2001130"/>
              <a:gd name="connsiteX5" fmla="*/ 2348886 w 2744639"/>
              <a:gd name="connsiteY5" fmla="*/ 0 h 2001130"/>
              <a:gd name="connsiteX6" fmla="*/ 0 w 2744639"/>
              <a:gd name="connsiteY6" fmla="*/ 1314513 h 2001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4639" h="2001130">
                <a:moveTo>
                  <a:pt x="0" y="1314513"/>
                </a:moveTo>
                <a:lnTo>
                  <a:pt x="779736" y="1308759"/>
                </a:lnTo>
                <a:lnTo>
                  <a:pt x="1173004" y="2001131"/>
                </a:lnTo>
                <a:cubicBezTo>
                  <a:pt x="1437345" y="1611367"/>
                  <a:pt x="1872661" y="1372137"/>
                  <a:pt x="2343393" y="1357933"/>
                </a:cubicBezTo>
                <a:lnTo>
                  <a:pt x="2744639" y="673931"/>
                </a:lnTo>
                <a:lnTo>
                  <a:pt x="2348886" y="0"/>
                </a:lnTo>
                <a:cubicBezTo>
                  <a:pt x="1394357" y="14067"/>
                  <a:pt x="511223" y="508306"/>
                  <a:pt x="0" y="1314513"/>
                </a:cubicBezTo>
                <a:close/>
              </a:path>
            </a:pathLst>
          </a:custGeom>
          <a:solidFill>
            <a:schemeClr val="accent1"/>
          </a:solidFill>
          <a:ln w="130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05B9547A-A28A-41DB-9543-B47A6EDFE33C}"/>
              </a:ext>
            </a:extLst>
          </p:cNvPr>
          <p:cNvSpPr/>
          <p:nvPr/>
        </p:nvSpPr>
        <p:spPr>
          <a:xfrm>
            <a:off x="4779039" y="1627989"/>
            <a:ext cx="1928276" cy="1708169"/>
          </a:xfrm>
          <a:custGeom>
            <a:avLst/>
            <a:gdLst>
              <a:gd name="connsiteX0" fmla="*/ 8501 w 2321290"/>
              <a:gd name="connsiteY0" fmla="*/ 0 h 2056321"/>
              <a:gd name="connsiteX1" fmla="*/ 403077 w 2321290"/>
              <a:gd name="connsiteY1" fmla="*/ 671970 h 2056321"/>
              <a:gd name="connsiteX2" fmla="*/ 0 w 2321290"/>
              <a:gd name="connsiteY2" fmla="*/ 1358980 h 2056321"/>
              <a:gd name="connsiteX3" fmla="*/ 1142401 w 2321290"/>
              <a:gd name="connsiteY3" fmla="*/ 2050698 h 2056321"/>
              <a:gd name="connsiteX4" fmla="*/ 1935346 w 2321290"/>
              <a:gd name="connsiteY4" fmla="*/ 2056322 h 2056321"/>
              <a:gd name="connsiteX5" fmla="*/ 2321291 w 2321290"/>
              <a:gd name="connsiteY5" fmla="*/ 1376243 h 2056321"/>
              <a:gd name="connsiteX6" fmla="*/ 8501 w 2321290"/>
              <a:gd name="connsiteY6" fmla="*/ 0 h 2056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21290" h="2056321">
                <a:moveTo>
                  <a:pt x="8501" y="0"/>
                </a:moveTo>
                <a:lnTo>
                  <a:pt x="403077" y="671970"/>
                </a:lnTo>
                <a:lnTo>
                  <a:pt x="0" y="1358980"/>
                </a:lnTo>
                <a:cubicBezTo>
                  <a:pt x="469672" y="1393075"/>
                  <a:pt x="894512" y="1650315"/>
                  <a:pt x="1142401" y="2050698"/>
                </a:cubicBezTo>
                <a:lnTo>
                  <a:pt x="1935346" y="2056322"/>
                </a:lnTo>
                <a:lnTo>
                  <a:pt x="2321291" y="1376243"/>
                </a:lnTo>
                <a:cubicBezTo>
                  <a:pt x="1831686" y="556919"/>
                  <a:pt x="962154" y="39490"/>
                  <a:pt x="8501" y="0"/>
                </a:cubicBezTo>
                <a:close/>
              </a:path>
            </a:pathLst>
          </a:custGeom>
          <a:solidFill>
            <a:srgbClr val="F39500"/>
          </a:solidFill>
          <a:ln w="130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D8AA2089-DB33-4EF5-9A9D-33A09E5A95AD}"/>
              </a:ext>
            </a:extLst>
          </p:cNvPr>
          <p:cNvSpPr/>
          <p:nvPr/>
        </p:nvSpPr>
        <p:spPr>
          <a:xfrm>
            <a:off x="4394883" y="4647025"/>
            <a:ext cx="2279949" cy="1662322"/>
          </a:xfrm>
          <a:custGeom>
            <a:avLst/>
            <a:gdLst>
              <a:gd name="connsiteX0" fmla="*/ 1571635 w 2744639"/>
              <a:gd name="connsiteY0" fmla="*/ 0 h 2001130"/>
              <a:gd name="connsiteX1" fmla="*/ 401377 w 2744639"/>
              <a:gd name="connsiteY1" fmla="*/ 643197 h 2001130"/>
              <a:gd name="connsiteX2" fmla="*/ 0 w 2744639"/>
              <a:gd name="connsiteY2" fmla="*/ 1327199 h 2001130"/>
              <a:gd name="connsiteX3" fmla="*/ 395884 w 2744639"/>
              <a:gd name="connsiteY3" fmla="*/ 2001130 h 2001130"/>
              <a:gd name="connsiteX4" fmla="*/ 2744639 w 2744639"/>
              <a:gd name="connsiteY4" fmla="*/ 686618 h 2001130"/>
              <a:gd name="connsiteX5" fmla="*/ 1964903 w 2744639"/>
              <a:gd name="connsiteY5" fmla="*/ 692372 h 2001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44639" h="2001130">
                <a:moveTo>
                  <a:pt x="1571635" y="0"/>
                </a:moveTo>
                <a:cubicBezTo>
                  <a:pt x="1307320" y="389724"/>
                  <a:pt x="872056" y="628955"/>
                  <a:pt x="401377" y="643197"/>
                </a:cubicBezTo>
                <a:lnTo>
                  <a:pt x="0" y="1327199"/>
                </a:lnTo>
                <a:lnTo>
                  <a:pt x="395884" y="2001130"/>
                </a:lnTo>
                <a:cubicBezTo>
                  <a:pt x="1350387" y="1987111"/>
                  <a:pt x="2233508" y="1492864"/>
                  <a:pt x="2744639" y="686618"/>
                </a:cubicBezTo>
                <a:lnTo>
                  <a:pt x="1964903" y="692372"/>
                </a:lnTo>
                <a:close/>
              </a:path>
            </a:pathLst>
          </a:custGeom>
          <a:solidFill>
            <a:srgbClr val="21A0D2"/>
          </a:solidFill>
          <a:ln w="130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1DFE68A4-3846-4F4D-BB61-20D2D8D989C1}"/>
              </a:ext>
            </a:extLst>
          </p:cNvPr>
          <p:cNvSpPr/>
          <p:nvPr/>
        </p:nvSpPr>
        <p:spPr>
          <a:xfrm>
            <a:off x="5762244" y="2877148"/>
            <a:ext cx="1273604" cy="2240837"/>
          </a:xfrm>
          <a:custGeom>
            <a:avLst/>
            <a:gdLst>
              <a:gd name="connsiteX0" fmla="*/ 1173658 w 1533185"/>
              <a:gd name="connsiteY0" fmla="*/ 2691541 h 2697556"/>
              <a:gd name="connsiteX1" fmla="*/ 1209231 w 1533185"/>
              <a:gd name="connsiteY1" fmla="*/ 0 h 2697556"/>
              <a:gd name="connsiteX2" fmla="*/ 824202 w 1533185"/>
              <a:gd name="connsiteY2" fmla="*/ 678247 h 2697556"/>
              <a:gd name="connsiteX3" fmla="*/ 27987 w 1533185"/>
              <a:gd name="connsiteY3" fmla="*/ 672624 h 2697556"/>
              <a:gd name="connsiteX4" fmla="*/ 0 w 1533185"/>
              <a:gd name="connsiteY4" fmla="*/ 2008324 h 2697556"/>
              <a:gd name="connsiteX5" fmla="*/ 391567 w 1533185"/>
              <a:gd name="connsiteY5" fmla="*/ 2697557 h 2697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33185" h="2697556">
                <a:moveTo>
                  <a:pt x="1173658" y="2691541"/>
                </a:moveTo>
                <a:cubicBezTo>
                  <a:pt x="1640074" y="1858144"/>
                  <a:pt x="1653466" y="845429"/>
                  <a:pt x="1209231" y="0"/>
                </a:cubicBezTo>
                <a:lnTo>
                  <a:pt x="824202" y="678247"/>
                </a:lnTo>
                <a:lnTo>
                  <a:pt x="27987" y="672624"/>
                </a:lnTo>
                <a:cubicBezTo>
                  <a:pt x="234392" y="1096365"/>
                  <a:pt x="223968" y="1593607"/>
                  <a:pt x="0" y="2008324"/>
                </a:cubicBezTo>
                <a:lnTo>
                  <a:pt x="391567" y="2697557"/>
                </a:lnTo>
                <a:close/>
              </a:path>
            </a:pathLst>
          </a:custGeom>
          <a:solidFill>
            <a:srgbClr val="C50022"/>
          </a:solidFill>
          <a:ln w="130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EB7C637C-6A60-4930-9575-B7420837DA30}"/>
              </a:ext>
            </a:extLst>
          </p:cNvPr>
          <p:cNvSpPr/>
          <p:nvPr/>
        </p:nvSpPr>
        <p:spPr>
          <a:xfrm>
            <a:off x="2352423" y="2818047"/>
            <a:ext cx="1273604" cy="2240621"/>
          </a:xfrm>
          <a:custGeom>
            <a:avLst/>
            <a:gdLst>
              <a:gd name="connsiteX0" fmla="*/ 359528 w 1533185"/>
              <a:gd name="connsiteY0" fmla="*/ 5755 h 2697295"/>
              <a:gd name="connsiteX1" fmla="*/ 323954 w 1533185"/>
              <a:gd name="connsiteY1" fmla="*/ 2697295 h 2697295"/>
              <a:gd name="connsiteX2" fmla="*/ 708852 w 1533185"/>
              <a:gd name="connsiteY2" fmla="*/ 2018917 h 2697295"/>
              <a:gd name="connsiteX3" fmla="*/ 1505067 w 1533185"/>
              <a:gd name="connsiteY3" fmla="*/ 2024541 h 2697295"/>
              <a:gd name="connsiteX4" fmla="*/ 1533186 w 1533185"/>
              <a:gd name="connsiteY4" fmla="*/ 689102 h 2697295"/>
              <a:gd name="connsiteX5" fmla="*/ 1141618 w 1533185"/>
              <a:gd name="connsiteY5" fmla="*/ 0 h 269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33185" h="2697295">
                <a:moveTo>
                  <a:pt x="359528" y="5755"/>
                </a:moveTo>
                <a:cubicBezTo>
                  <a:pt x="-106889" y="839151"/>
                  <a:pt x="-120281" y="1851866"/>
                  <a:pt x="323954" y="2697295"/>
                </a:cubicBezTo>
                <a:lnTo>
                  <a:pt x="708852" y="2018917"/>
                </a:lnTo>
                <a:lnTo>
                  <a:pt x="1505067" y="2024541"/>
                </a:lnTo>
                <a:cubicBezTo>
                  <a:pt x="1298886" y="1600826"/>
                  <a:pt x="1309349" y="1103754"/>
                  <a:pt x="1533186" y="689102"/>
                </a:cubicBezTo>
                <a:lnTo>
                  <a:pt x="1141618" y="0"/>
                </a:lnTo>
                <a:close/>
              </a:path>
            </a:pathLst>
          </a:custGeom>
          <a:solidFill>
            <a:srgbClr val="00793A"/>
          </a:solidFill>
          <a:ln w="130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A237AA02-480F-4EA3-9342-CB1771F754AC}"/>
              </a:ext>
            </a:extLst>
          </p:cNvPr>
          <p:cNvSpPr/>
          <p:nvPr/>
        </p:nvSpPr>
        <p:spPr>
          <a:xfrm>
            <a:off x="2680955" y="4599767"/>
            <a:ext cx="1928276" cy="1707952"/>
          </a:xfrm>
          <a:custGeom>
            <a:avLst/>
            <a:gdLst>
              <a:gd name="connsiteX0" fmla="*/ 2312790 w 2321290"/>
              <a:gd name="connsiteY0" fmla="*/ 2056060 h 2056060"/>
              <a:gd name="connsiteX1" fmla="*/ 1918083 w 2321290"/>
              <a:gd name="connsiteY1" fmla="*/ 1384090 h 2056060"/>
              <a:gd name="connsiteX2" fmla="*/ 2321290 w 2321290"/>
              <a:gd name="connsiteY2" fmla="*/ 697080 h 2056060"/>
              <a:gd name="connsiteX3" fmla="*/ 1178759 w 2321290"/>
              <a:gd name="connsiteY3" fmla="*/ 5362 h 2056060"/>
              <a:gd name="connsiteX4" fmla="*/ 385945 w 2321290"/>
              <a:gd name="connsiteY4" fmla="*/ 0 h 2056060"/>
              <a:gd name="connsiteX5" fmla="*/ 0 w 2321290"/>
              <a:gd name="connsiteY5" fmla="*/ 680078 h 2056060"/>
              <a:gd name="connsiteX6" fmla="*/ 2312790 w 2321290"/>
              <a:gd name="connsiteY6" fmla="*/ 2056060 h 2056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321290" h="2056060">
                <a:moveTo>
                  <a:pt x="2312790" y="2056060"/>
                </a:moveTo>
                <a:lnTo>
                  <a:pt x="1918083" y="1384090"/>
                </a:lnTo>
                <a:lnTo>
                  <a:pt x="2321290" y="697080"/>
                </a:lnTo>
                <a:cubicBezTo>
                  <a:pt x="1851578" y="662998"/>
                  <a:pt x="1426687" y="405758"/>
                  <a:pt x="1178759" y="5362"/>
                </a:cubicBezTo>
                <a:lnTo>
                  <a:pt x="385945" y="0"/>
                </a:lnTo>
                <a:lnTo>
                  <a:pt x="0" y="680078"/>
                </a:lnTo>
                <a:cubicBezTo>
                  <a:pt x="489630" y="1499337"/>
                  <a:pt x="1359176" y="2016668"/>
                  <a:pt x="2312790" y="2056060"/>
                </a:cubicBezTo>
                <a:close/>
              </a:path>
            </a:pathLst>
          </a:custGeom>
          <a:solidFill>
            <a:srgbClr val="65AC1E"/>
          </a:solidFill>
          <a:ln w="130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41" name="Textfeld 440">
            <a:extLst>
              <a:ext uri="{FF2B5EF4-FFF2-40B4-BE49-F238E27FC236}">
                <a16:creationId xmlns:a16="http://schemas.microsoft.com/office/drawing/2014/main" id="{F037EE9C-08BD-4D13-A8A4-A734B9845370}"/>
              </a:ext>
            </a:extLst>
          </p:cNvPr>
          <p:cNvSpPr txBox="1"/>
          <p:nvPr/>
        </p:nvSpPr>
        <p:spPr>
          <a:xfrm>
            <a:off x="4356682" y="1922900"/>
            <a:ext cx="444810" cy="4803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3600" b="1" dirty="0">
                <a:solidFill>
                  <a:schemeClr val="bg1">
                    <a:alpha val="26000"/>
                  </a:schemeClr>
                </a:solidFill>
              </a:rPr>
              <a:t>01</a:t>
            </a:r>
          </a:p>
        </p:txBody>
      </p:sp>
      <p:sp>
        <p:nvSpPr>
          <p:cNvPr id="442" name="Textfeld 441">
            <a:extLst>
              <a:ext uri="{FF2B5EF4-FFF2-40B4-BE49-F238E27FC236}">
                <a16:creationId xmlns:a16="http://schemas.microsoft.com/office/drawing/2014/main" id="{BEC2E1A7-E0BB-417F-BA1B-80F3D61D1F64}"/>
              </a:ext>
            </a:extLst>
          </p:cNvPr>
          <p:cNvSpPr txBox="1"/>
          <p:nvPr/>
        </p:nvSpPr>
        <p:spPr>
          <a:xfrm>
            <a:off x="5891775" y="2791768"/>
            <a:ext cx="444810" cy="4803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3600" b="1" dirty="0">
                <a:solidFill>
                  <a:schemeClr val="bg1">
                    <a:alpha val="26000"/>
                  </a:schemeClr>
                </a:solidFill>
              </a:rPr>
              <a:t>02</a:t>
            </a:r>
          </a:p>
        </p:txBody>
      </p:sp>
      <p:sp>
        <p:nvSpPr>
          <p:cNvPr id="443" name="Textfeld 442">
            <a:extLst>
              <a:ext uri="{FF2B5EF4-FFF2-40B4-BE49-F238E27FC236}">
                <a16:creationId xmlns:a16="http://schemas.microsoft.com/office/drawing/2014/main" id="{8201AFA2-1CAB-40CA-B664-A08CB59B09DE}"/>
              </a:ext>
            </a:extLst>
          </p:cNvPr>
          <p:cNvSpPr txBox="1"/>
          <p:nvPr/>
        </p:nvSpPr>
        <p:spPr>
          <a:xfrm>
            <a:off x="6063880" y="4549727"/>
            <a:ext cx="444810" cy="4803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3600" b="1" dirty="0">
                <a:solidFill>
                  <a:schemeClr val="bg1">
                    <a:alpha val="26000"/>
                  </a:schemeClr>
                </a:solidFill>
              </a:rPr>
              <a:t>03</a:t>
            </a:r>
          </a:p>
        </p:txBody>
      </p:sp>
      <p:sp>
        <p:nvSpPr>
          <p:cNvPr id="444" name="Textfeld 443">
            <a:extLst>
              <a:ext uri="{FF2B5EF4-FFF2-40B4-BE49-F238E27FC236}">
                <a16:creationId xmlns:a16="http://schemas.microsoft.com/office/drawing/2014/main" id="{DF6F6A71-4687-4947-ADED-45573F6912A4}"/>
              </a:ext>
            </a:extLst>
          </p:cNvPr>
          <p:cNvSpPr txBox="1"/>
          <p:nvPr/>
        </p:nvSpPr>
        <p:spPr>
          <a:xfrm>
            <a:off x="4571230" y="5590148"/>
            <a:ext cx="444810" cy="4803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3600" b="1" dirty="0">
                <a:solidFill>
                  <a:schemeClr val="bg1">
                    <a:alpha val="26000"/>
                  </a:schemeClr>
                </a:solidFill>
              </a:rPr>
              <a:t>04</a:t>
            </a:r>
          </a:p>
        </p:txBody>
      </p:sp>
      <p:sp>
        <p:nvSpPr>
          <p:cNvPr id="445" name="Textfeld 444">
            <a:extLst>
              <a:ext uri="{FF2B5EF4-FFF2-40B4-BE49-F238E27FC236}">
                <a16:creationId xmlns:a16="http://schemas.microsoft.com/office/drawing/2014/main" id="{83B20D50-078B-4876-96F2-1800D83F4D06}"/>
              </a:ext>
            </a:extLst>
          </p:cNvPr>
          <p:cNvSpPr txBox="1"/>
          <p:nvPr/>
        </p:nvSpPr>
        <p:spPr>
          <a:xfrm>
            <a:off x="2992964" y="4733169"/>
            <a:ext cx="444810" cy="4803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3600" b="1" dirty="0">
                <a:solidFill>
                  <a:schemeClr val="bg1">
                    <a:alpha val="26000"/>
                  </a:schemeClr>
                </a:solidFill>
              </a:rPr>
              <a:t>05</a:t>
            </a:r>
          </a:p>
        </p:txBody>
      </p:sp>
      <p:sp>
        <p:nvSpPr>
          <p:cNvPr id="446" name="Textfeld 445">
            <a:extLst>
              <a:ext uri="{FF2B5EF4-FFF2-40B4-BE49-F238E27FC236}">
                <a16:creationId xmlns:a16="http://schemas.microsoft.com/office/drawing/2014/main" id="{7E45E9C7-4031-4513-A71E-1CF6DF0537A1}"/>
              </a:ext>
            </a:extLst>
          </p:cNvPr>
          <p:cNvSpPr txBox="1"/>
          <p:nvPr/>
        </p:nvSpPr>
        <p:spPr>
          <a:xfrm>
            <a:off x="2857106" y="2910642"/>
            <a:ext cx="512961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3600" b="1" dirty="0">
                <a:solidFill>
                  <a:schemeClr val="bg1">
                    <a:alpha val="26000"/>
                  </a:schemeClr>
                </a:solidFill>
              </a:rPr>
              <a:t>06</a:t>
            </a:r>
          </a:p>
        </p:txBody>
      </p:sp>
      <p:sp>
        <p:nvSpPr>
          <p:cNvPr id="497" name="Textplatzhalter 31">
            <a:extLst>
              <a:ext uri="{FF2B5EF4-FFF2-40B4-BE49-F238E27FC236}">
                <a16:creationId xmlns:a16="http://schemas.microsoft.com/office/drawing/2014/main" id="{29DD7477-BE84-4F98-B929-D12245BE6D23}"/>
              </a:ext>
            </a:extLst>
          </p:cNvPr>
          <p:cNvSpPr txBox="1">
            <a:spLocks/>
          </p:cNvSpPr>
          <p:nvPr/>
        </p:nvSpPr>
        <p:spPr>
          <a:xfrm>
            <a:off x="363851" y="1605290"/>
            <a:ext cx="2772224" cy="8091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n"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17550" indent="-360363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4738" indent="-357188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●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436688" indent="-3619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−"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lang="de-DE" sz="2000" b="0" i="0" kern="1200" dirty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  <a:defRPr/>
            </a:pPr>
            <a:r>
              <a:rPr lang="es-ES_tradnl" sz="1400" dirty="0">
                <a:solidFill>
                  <a:schemeClr val="accent1"/>
                </a:solidFill>
              </a:rPr>
              <a:t>Los consumidores usan y desechan productos de plástico (por ejemplo, envases, neumáticos)</a:t>
            </a:r>
            <a:endParaRPr lang="de-DE" sz="1400" dirty="0">
              <a:solidFill>
                <a:schemeClr val="accent1"/>
              </a:solidFill>
            </a:endParaRPr>
          </a:p>
        </p:txBody>
      </p:sp>
      <p:grpSp>
        <p:nvGrpSpPr>
          <p:cNvPr id="522" name="Gruppieren 521">
            <a:extLst>
              <a:ext uri="{FF2B5EF4-FFF2-40B4-BE49-F238E27FC236}">
                <a16:creationId xmlns:a16="http://schemas.microsoft.com/office/drawing/2014/main" id="{5CE0A2B9-5D8F-4B1F-BBB1-5253E84CD86C}"/>
              </a:ext>
            </a:extLst>
          </p:cNvPr>
          <p:cNvGrpSpPr/>
          <p:nvPr/>
        </p:nvGrpSpPr>
        <p:grpSpPr>
          <a:xfrm>
            <a:off x="5393848" y="2049044"/>
            <a:ext cx="514784" cy="779006"/>
            <a:chOff x="6252219" y="2266664"/>
            <a:chExt cx="535366" cy="810152"/>
          </a:xfrm>
        </p:grpSpPr>
        <p:pic>
          <p:nvPicPr>
            <p:cNvPr id="501" name="Grafik 500">
              <a:extLst>
                <a:ext uri="{FF2B5EF4-FFF2-40B4-BE49-F238E27FC236}">
                  <a16:creationId xmlns:a16="http://schemas.microsoft.com/office/drawing/2014/main" id="{5D911582-EADF-41C3-9013-5A999E6A636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264712" y="2266664"/>
              <a:ext cx="522873" cy="522874"/>
            </a:xfrm>
            <a:prstGeom prst="rect">
              <a:avLst/>
            </a:prstGeom>
          </p:spPr>
        </p:pic>
        <p:sp>
          <p:nvSpPr>
            <p:cNvPr id="506" name="Freihandform: Form 505">
              <a:extLst>
                <a:ext uri="{FF2B5EF4-FFF2-40B4-BE49-F238E27FC236}">
                  <a16:creationId xmlns:a16="http://schemas.microsoft.com/office/drawing/2014/main" id="{15F95D57-1DD2-4CF3-A4CD-B84923D8D72F}"/>
                </a:ext>
              </a:extLst>
            </p:cNvPr>
            <p:cNvSpPr/>
            <p:nvPr/>
          </p:nvSpPr>
          <p:spPr>
            <a:xfrm>
              <a:off x="6303195" y="2818168"/>
              <a:ext cx="435685" cy="127678"/>
            </a:xfrm>
            <a:custGeom>
              <a:avLst/>
              <a:gdLst>
                <a:gd name="connsiteX0" fmla="*/ 0 w 435685"/>
                <a:gd name="connsiteY0" fmla="*/ 75303 h 75303"/>
                <a:gd name="connsiteX1" fmla="*/ 0 w 435685"/>
                <a:gd name="connsiteY1" fmla="*/ 0 h 75303"/>
                <a:gd name="connsiteX2" fmla="*/ 435685 w 435685"/>
                <a:gd name="connsiteY2" fmla="*/ 0 h 75303"/>
                <a:gd name="connsiteX3" fmla="*/ 435685 w 435685"/>
                <a:gd name="connsiteY3" fmla="*/ 75303 h 75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5685" h="75303">
                  <a:moveTo>
                    <a:pt x="0" y="75303"/>
                  </a:moveTo>
                  <a:lnTo>
                    <a:pt x="0" y="0"/>
                  </a:lnTo>
                  <a:lnTo>
                    <a:pt x="435685" y="0"/>
                  </a:lnTo>
                  <a:lnTo>
                    <a:pt x="435685" y="75303"/>
                  </a:lnTo>
                </a:path>
              </a:pathLst>
            </a:custGeom>
            <a:noFill/>
            <a:ln cap="rnd">
              <a:solidFill>
                <a:schemeClr val="bg1"/>
              </a:solidFill>
              <a:headEnd type="triangle" w="sm" len="sm"/>
              <a:tailEnd type="triangle" w="sm" len="sm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508" name="Gerader Verbinder 507">
              <a:extLst>
                <a:ext uri="{FF2B5EF4-FFF2-40B4-BE49-F238E27FC236}">
                  <a16:creationId xmlns:a16="http://schemas.microsoft.com/office/drawing/2014/main" id="{D92395BD-2C0A-4746-B700-D697432C7B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523703" y="2773622"/>
              <a:ext cx="0" cy="180000"/>
            </a:xfrm>
            <a:prstGeom prst="line">
              <a:avLst/>
            </a:prstGeom>
            <a:ln w="12700">
              <a:solidFill>
                <a:schemeClr val="bg1"/>
              </a:solidFill>
              <a:head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0" name="Ellipse 509">
              <a:extLst>
                <a:ext uri="{FF2B5EF4-FFF2-40B4-BE49-F238E27FC236}">
                  <a16:creationId xmlns:a16="http://schemas.microsoft.com/office/drawing/2014/main" id="{22383ED2-71AC-4FD8-BD00-1A55B39D31F3}"/>
                </a:ext>
              </a:extLst>
            </p:cNvPr>
            <p:cNvSpPr/>
            <p:nvPr/>
          </p:nvSpPr>
          <p:spPr>
            <a:xfrm>
              <a:off x="6474968" y="2974865"/>
              <a:ext cx="101951" cy="10195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11" name="Rechteck 510">
              <a:extLst>
                <a:ext uri="{FF2B5EF4-FFF2-40B4-BE49-F238E27FC236}">
                  <a16:creationId xmlns:a16="http://schemas.microsoft.com/office/drawing/2014/main" id="{9A8526BC-8DFB-4A20-A2D7-8941FFEAA595}"/>
                </a:ext>
              </a:extLst>
            </p:cNvPr>
            <p:cNvSpPr/>
            <p:nvPr/>
          </p:nvSpPr>
          <p:spPr>
            <a:xfrm>
              <a:off x="6691120" y="2982253"/>
              <a:ext cx="87890" cy="878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12" name="Gleichschenkliges Dreieck 511">
              <a:extLst>
                <a:ext uri="{FF2B5EF4-FFF2-40B4-BE49-F238E27FC236}">
                  <a16:creationId xmlns:a16="http://schemas.microsoft.com/office/drawing/2014/main" id="{01689B0A-3397-49DE-9D32-2193205A5E51}"/>
                </a:ext>
              </a:extLst>
            </p:cNvPr>
            <p:cNvSpPr/>
            <p:nvPr/>
          </p:nvSpPr>
          <p:spPr>
            <a:xfrm>
              <a:off x="6252219" y="2977952"/>
              <a:ext cx="101952" cy="8789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514" name="Grafik 513">
            <a:extLst>
              <a:ext uri="{FF2B5EF4-FFF2-40B4-BE49-F238E27FC236}">
                <a16:creationId xmlns:a16="http://schemas.microsoft.com/office/drawing/2014/main" id="{7BB0DCE0-494D-48EF-AAD3-7FD23D58514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51506" y="3721188"/>
            <a:ext cx="520509" cy="520509"/>
          </a:xfrm>
          <a:prstGeom prst="rect">
            <a:avLst/>
          </a:prstGeom>
        </p:spPr>
      </p:pic>
      <p:sp>
        <p:nvSpPr>
          <p:cNvPr id="515" name="Freihandform: Form 514">
            <a:extLst>
              <a:ext uri="{FF2B5EF4-FFF2-40B4-BE49-F238E27FC236}">
                <a16:creationId xmlns:a16="http://schemas.microsoft.com/office/drawing/2014/main" id="{92EAA89E-E095-4711-B52C-4C38E80CD27C}"/>
              </a:ext>
            </a:extLst>
          </p:cNvPr>
          <p:cNvSpPr/>
          <p:nvPr/>
        </p:nvSpPr>
        <p:spPr>
          <a:xfrm>
            <a:off x="6365438" y="3870108"/>
            <a:ext cx="112295" cy="328863"/>
          </a:xfrm>
          <a:custGeom>
            <a:avLst/>
            <a:gdLst>
              <a:gd name="connsiteX0" fmla="*/ 0 w 112295"/>
              <a:gd name="connsiteY0" fmla="*/ 0 h 320842"/>
              <a:gd name="connsiteX1" fmla="*/ 112295 w 112295"/>
              <a:gd name="connsiteY1" fmla="*/ 168442 h 320842"/>
              <a:gd name="connsiteX2" fmla="*/ 8021 w 112295"/>
              <a:gd name="connsiteY2" fmla="*/ 320842 h 320842"/>
              <a:gd name="connsiteX0" fmla="*/ 0 w 112295"/>
              <a:gd name="connsiteY0" fmla="*/ 0 h 328863"/>
              <a:gd name="connsiteX1" fmla="*/ 112295 w 112295"/>
              <a:gd name="connsiteY1" fmla="*/ 168442 h 328863"/>
              <a:gd name="connsiteX2" fmla="*/ 8021 w 112295"/>
              <a:gd name="connsiteY2" fmla="*/ 328863 h 328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2295" h="328863">
                <a:moveTo>
                  <a:pt x="0" y="0"/>
                </a:moveTo>
                <a:lnTo>
                  <a:pt x="112295" y="168442"/>
                </a:lnTo>
                <a:lnTo>
                  <a:pt x="8021" y="328863"/>
                </a:lnTo>
              </a:path>
            </a:pathLst>
          </a:custGeom>
          <a:noFill/>
          <a:ln w="1905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9" name="Textplatzhalter 31">
            <a:extLst>
              <a:ext uri="{FF2B5EF4-FFF2-40B4-BE49-F238E27FC236}">
                <a16:creationId xmlns:a16="http://schemas.microsoft.com/office/drawing/2014/main" id="{CAF18ECB-3D89-4901-94BD-922F3E1200C8}"/>
              </a:ext>
            </a:extLst>
          </p:cNvPr>
          <p:cNvSpPr txBox="1">
            <a:spLocks/>
          </p:cNvSpPr>
          <p:nvPr/>
        </p:nvSpPr>
        <p:spPr>
          <a:xfrm>
            <a:off x="6612904" y="1638058"/>
            <a:ext cx="2702223" cy="970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i="0">
                <a:solidFill>
                  <a:schemeClr val="accent1"/>
                </a:solidFill>
                <a:latin typeface="Arial"/>
              </a:defRPr>
            </a:lvl1pPr>
            <a:lvl2pPr marL="717550" indent="-360363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sz="2000" b="0" i="0">
                <a:latin typeface="Arial"/>
              </a:defRPr>
            </a:lvl2pPr>
            <a:lvl3pPr marL="1074738" indent="-357188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●"/>
              <a:tabLst/>
              <a:defRPr sz="2000" b="0" i="0">
                <a:latin typeface="Arial"/>
              </a:defRPr>
            </a:lvl3pPr>
            <a:lvl4pPr marL="1436688" indent="-36195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−"/>
              <a:defRPr sz="2000" b="0" i="0">
                <a:latin typeface="Arial"/>
              </a:defRPr>
            </a:lvl4pPr>
            <a:lvl5pPr marL="2057400" indent="-228600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>
                <a:latin typeface="Arial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r"/>
            <a:r>
              <a:rPr lang="es-ES_tradnl" dirty="0">
                <a:solidFill>
                  <a:srgbClr val="F39500"/>
                </a:solidFill>
              </a:rPr>
              <a:t>Las compañías de residuos recogen y clasifican los residuos y los suministran a los socios tecnológicos de BASF.</a:t>
            </a:r>
            <a:endParaRPr lang="de-DE" dirty="0">
              <a:solidFill>
                <a:srgbClr val="F39500"/>
              </a:solidFill>
            </a:endParaRPr>
          </a:p>
        </p:txBody>
      </p:sp>
      <p:sp>
        <p:nvSpPr>
          <p:cNvPr id="520" name="Textplatzhalter 31">
            <a:extLst>
              <a:ext uri="{FF2B5EF4-FFF2-40B4-BE49-F238E27FC236}">
                <a16:creationId xmlns:a16="http://schemas.microsoft.com/office/drawing/2014/main" id="{0ED4F6C7-166B-4628-80A8-E9FE16D175C3}"/>
              </a:ext>
            </a:extLst>
          </p:cNvPr>
          <p:cNvSpPr txBox="1">
            <a:spLocks/>
          </p:cNvSpPr>
          <p:nvPr/>
        </p:nvSpPr>
        <p:spPr>
          <a:xfrm>
            <a:off x="7166995" y="3488782"/>
            <a:ext cx="2184902" cy="6871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i="0">
                <a:solidFill>
                  <a:schemeClr val="accent1"/>
                </a:solidFill>
                <a:latin typeface="Arial"/>
              </a:defRPr>
            </a:lvl1pPr>
            <a:lvl2pPr marL="717550" indent="-360363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sz="2000" b="0" i="0">
                <a:latin typeface="Arial"/>
              </a:defRPr>
            </a:lvl2pPr>
            <a:lvl3pPr marL="1074738" indent="-357188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●"/>
              <a:tabLst/>
              <a:defRPr sz="2000" b="0" i="0">
                <a:latin typeface="Arial"/>
              </a:defRPr>
            </a:lvl3pPr>
            <a:lvl4pPr marL="1436688" indent="-36195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−"/>
              <a:defRPr sz="2000" b="0" i="0">
                <a:latin typeface="Arial"/>
              </a:defRPr>
            </a:lvl4pPr>
            <a:lvl5pPr marL="2057400" indent="-228600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>
                <a:latin typeface="Arial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r"/>
            <a:r>
              <a:rPr lang="es-ES_tradnl" dirty="0">
                <a:solidFill>
                  <a:srgbClr val="C50022"/>
                </a:solidFill>
              </a:rPr>
              <a:t>Nuestros socios convierten los residuos plásticos en aceite de pirólisis mediante un proceso termoquímico.</a:t>
            </a:r>
            <a:endParaRPr lang="de-DE" dirty="0">
              <a:solidFill>
                <a:srgbClr val="C50022"/>
              </a:solidFill>
            </a:endParaRPr>
          </a:p>
        </p:txBody>
      </p:sp>
      <p:sp>
        <p:nvSpPr>
          <p:cNvPr id="521" name="Textplatzhalter 31">
            <a:extLst>
              <a:ext uri="{FF2B5EF4-FFF2-40B4-BE49-F238E27FC236}">
                <a16:creationId xmlns:a16="http://schemas.microsoft.com/office/drawing/2014/main" id="{A8824CAF-5BC9-4DD5-920A-045C8220391A}"/>
              </a:ext>
            </a:extLst>
          </p:cNvPr>
          <p:cNvSpPr txBox="1">
            <a:spLocks/>
          </p:cNvSpPr>
          <p:nvPr/>
        </p:nvSpPr>
        <p:spPr>
          <a:xfrm>
            <a:off x="6161694" y="5623034"/>
            <a:ext cx="3167571" cy="6764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i="0">
                <a:solidFill>
                  <a:schemeClr val="accent1"/>
                </a:solidFill>
                <a:latin typeface="Arial"/>
              </a:defRPr>
            </a:lvl1pPr>
            <a:lvl2pPr marL="717550" indent="-360363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sz="2000" b="0" i="0">
                <a:latin typeface="Arial"/>
              </a:defRPr>
            </a:lvl2pPr>
            <a:lvl3pPr marL="1074738" indent="-357188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●"/>
              <a:tabLst/>
              <a:defRPr sz="2000" b="0" i="0">
                <a:latin typeface="Arial"/>
              </a:defRPr>
            </a:lvl3pPr>
            <a:lvl4pPr marL="1436688" indent="-36195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−"/>
              <a:defRPr sz="2000" b="0" i="0">
                <a:latin typeface="Arial"/>
              </a:defRPr>
            </a:lvl4pPr>
            <a:lvl5pPr marL="2057400" indent="-228600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>
                <a:latin typeface="Arial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r"/>
            <a:r>
              <a:rPr lang="es-ES_tradnl" dirty="0">
                <a:solidFill>
                  <a:srgbClr val="21A0D2"/>
                </a:solidFill>
              </a:rPr>
              <a:t>El aceite de pirólisis se purifica para usarse como materia prima al comienzo de la producción en los </a:t>
            </a:r>
            <a:r>
              <a:rPr lang="es-ES_tradnl" dirty="0" err="1">
                <a:solidFill>
                  <a:srgbClr val="21A0D2"/>
                </a:solidFill>
              </a:rPr>
              <a:t>sites</a:t>
            </a:r>
            <a:r>
              <a:rPr lang="es-ES_tradnl" dirty="0">
                <a:solidFill>
                  <a:srgbClr val="21A0D2"/>
                </a:solidFill>
              </a:rPr>
              <a:t> de BASF</a:t>
            </a:r>
            <a:endParaRPr lang="de-DE" dirty="0">
              <a:solidFill>
                <a:srgbClr val="21A0D2"/>
              </a:solidFill>
            </a:endParaRPr>
          </a:p>
        </p:txBody>
      </p:sp>
      <p:graphicFrame>
        <p:nvGraphicFramePr>
          <p:cNvPr id="530" name="Diagramm 529">
            <a:extLst>
              <a:ext uri="{FF2B5EF4-FFF2-40B4-BE49-F238E27FC236}">
                <a16:creationId xmlns:a16="http://schemas.microsoft.com/office/drawing/2014/main" id="{999456F0-F088-4D2A-A16D-75F6B3BF4BC8}"/>
              </a:ext>
            </a:extLst>
          </p:cNvPr>
          <p:cNvGraphicFramePr/>
          <p:nvPr/>
        </p:nvGraphicFramePr>
        <p:xfrm>
          <a:off x="3390040" y="5084994"/>
          <a:ext cx="875545" cy="869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531" name="Gruppieren 530">
            <a:extLst>
              <a:ext uri="{FF2B5EF4-FFF2-40B4-BE49-F238E27FC236}">
                <a16:creationId xmlns:a16="http://schemas.microsoft.com/office/drawing/2014/main" id="{7CDA1133-4206-409C-A47D-16F50416358B}"/>
              </a:ext>
            </a:extLst>
          </p:cNvPr>
          <p:cNvGrpSpPr/>
          <p:nvPr/>
        </p:nvGrpSpPr>
        <p:grpSpPr>
          <a:xfrm>
            <a:off x="3730917" y="5371286"/>
            <a:ext cx="188432" cy="297355"/>
            <a:chOff x="3445978" y="5313832"/>
            <a:chExt cx="552450" cy="871793"/>
          </a:xfrm>
          <a:solidFill>
            <a:schemeClr val="bg1"/>
          </a:solidFill>
        </p:grpSpPr>
        <p:sp>
          <p:nvSpPr>
            <p:cNvPr id="532" name="Freihandform: Form 531">
              <a:extLst>
                <a:ext uri="{FF2B5EF4-FFF2-40B4-BE49-F238E27FC236}">
                  <a16:creationId xmlns:a16="http://schemas.microsoft.com/office/drawing/2014/main" id="{70042A80-4BE5-4705-A5AF-0D81697D2426}"/>
                </a:ext>
              </a:extLst>
            </p:cNvPr>
            <p:cNvSpPr/>
            <p:nvPr/>
          </p:nvSpPr>
          <p:spPr>
            <a:xfrm>
              <a:off x="3474115" y="5447876"/>
              <a:ext cx="495300" cy="161925"/>
            </a:xfrm>
            <a:custGeom>
              <a:avLst/>
              <a:gdLst>
                <a:gd name="connsiteX0" fmla="*/ 0 w 495300"/>
                <a:gd name="connsiteY0" fmla="*/ 0 h 161925"/>
                <a:gd name="connsiteX1" fmla="*/ 500072 w 495300"/>
                <a:gd name="connsiteY1" fmla="*/ 0 h 161925"/>
                <a:gd name="connsiteX2" fmla="*/ 500072 w 495300"/>
                <a:gd name="connsiteY2" fmla="*/ 162916 h 161925"/>
                <a:gd name="connsiteX3" fmla="*/ 0 w 495300"/>
                <a:gd name="connsiteY3" fmla="*/ 162916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300" h="161925">
                  <a:moveTo>
                    <a:pt x="0" y="0"/>
                  </a:moveTo>
                  <a:lnTo>
                    <a:pt x="500072" y="0"/>
                  </a:lnTo>
                  <a:lnTo>
                    <a:pt x="500072" y="162916"/>
                  </a:lnTo>
                  <a:lnTo>
                    <a:pt x="0" y="162916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533" name="Freihandform: Form 532">
              <a:extLst>
                <a:ext uri="{FF2B5EF4-FFF2-40B4-BE49-F238E27FC236}">
                  <a16:creationId xmlns:a16="http://schemas.microsoft.com/office/drawing/2014/main" id="{ECEA801E-456B-4EB3-93B3-EF089D28A79D}"/>
                </a:ext>
              </a:extLst>
            </p:cNvPr>
            <p:cNvSpPr/>
            <p:nvPr/>
          </p:nvSpPr>
          <p:spPr>
            <a:xfrm>
              <a:off x="3500842" y="5313832"/>
              <a:ext cx="133350" cy="57150"/>
            </a:xfrm>
            <a:custGeom>
              <a:avLst/>
              <a:gdLst>
                <a:gd name="connsiteX0" fmla="*/ 10 w 133350"/>
                <a:gd name="connsiteY0" fmla="*/ 15201 h 57150"/>
                <a:gd name="connsiteX1" fmla="*/ 7410 w 133350"/>
                <a:gd name="connsiteY1" fmla="*/ 2152 h 57150"/>
                <a:gd name="connsiteX2" fmla="*/ 22393 w 133350"/>
                <a:gd name="connsiteY2" fmla="*/ 1780 h 57150"/>
                <a:gd name="connsiteX3" fmla="*/ 138875 w 133350"/>
                <a:gd name="connsiteY3" fmla="*/ 64121 h 57150"/>
                <a:gd name="connsiteX4" fmla="*/ 0 w 133350"/>
                <a:gd name="connsiteY4" fmla="*/ 64121 h 57150"/>
                <a:gd name="connsiteX5" fmla="*/ 0 w 133350"/>
                <a:gd name="connsiteY5" fmla="*/ 15201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350" h="57150">
                  <a:moveTo>
                    <a:pt x="10" y="15201"/>
                  </a:moveTo>
                  <a:cubicBezTo>
                    <a:pt x="10" y="9886"/>
                    <a:pt x="2848" y="4885"/>
                    <a:pt x="7410" y="2152"/>
                  </a:cubicBezTo>
                  <a:cubicBezTo>
                    <a:pt x="11973" y="-573"/>
                    <a:pt x="17707" y="-725"/>
                    <a:pt x="22393" y="1780"/>
                  </a:cubicBezTo>
                  <a:lnTo>
                    <a:pt x="138875" y="64121"/>
                  </a:lnTo>
                  <a:lnTo>
                    <a:pt x="0" y="64121"/>
                  </a:lnTo>
                  <a:lnTo>
                    <a:pt x="0" y="1520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534" name="Freihandform: Form 533">
              <a:extLst>
                <a:ext uri="{FF2B5EF4-FFF2-40B4-BE49-F238E27FC236}">
                  <a16:creationId xmlns:a16="http://schemas.microsoft.com/office/drawing/2014/main" id="{80099AC4-071A-4AC1-961A-2FCC83582E4E}"/>
                </a:ext>
              </a:extLst>
            </p:cNvPr>
            <p:cNvSpPr/>
            <p:nvPr/>
          </p:nvSpPr>
          <p:spPr>
            <a:xfrm>
              <a:off x="3445978" y="5391602"/>
              <a:ext cx="552450" cy="38100"/>
            </a:xfrm>
            <a:custGeom>
              <a:avLst/>
              <a:gdLst>
                <a:gd name="connsiteX0" fmla="*/ 0 w 552450"/>
                <a:gd name="connsiteY0" fmla="*/ 21317 h 38100"/>
                <a:gd name="connsiteX1" fmla="*/ 21307 w 552450"/>
                <a:gd name="connsiteY1" fmla="*/ 0 h 38100"/>
                <a:gd name="connsiteX2" fmla="*/ 535038 w 552450"/>
                <a:gd name="connsiteY2" fmla="*/ 0 h 38100"/>
                <a:gd name="connsiteX3" fmla="*/ 556346 w 552450"/>
                <a:gd name="connsiteY3" fmla="*/ 21317 h 38100"/>
                <a:gd name="connsiteX4" fmla="*/ 535038 w 552450"/>
                <a:gd name="connsiteY4" fmla="*/ 42624 h 38100"/>
                <a:gd name="connsiteX5" fmla="*/ 21307 w 552450"/>
                <a:gd name="connsiteY5" fmla="*/ 42624 h 38100"/>
                <a:gd name="connsiteX6" fmla="*/ 0 w 552450"/>
                <a:gd name="connsiteY6" fmla="*/ 2131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2450" h="38100">
                  <a:moveTo>
                    <a:pt x="0" y="21317"/>
                  </a:moveTo>
                  <a:cubicBezTo>
                    <a:pt x="0" y="9563"/>
                    <a:pt x="9563" y="0"/>
                    <a:pt x="21307" y="0"/>
                  </a:cubicBezTo>
                  <a:lnTo>
                    <a:pt x="535038" y="0"/>
                  </a:lnTo>
                  <a:cubicBezTo>
                    <a:pt x="546783" y="0"/>
                    <a:pt x="556346" y="9563"/>
                    <a:pt x="556346" y="21317"/>
                  </a:cubicBezTo>
                  <a:cubicBezTo>
                    <a:pt x="556346" y="33061"/>
                    <a:pt x="546783" y="42624"/>
                    <a:pt x="535038" y="42624"/>
                  </a:cubicBezTo>
                  <a:lnTo>
                    <a:pt x="21307" y="42624"/>
                  </a:lnTo>
                  <a:cubicBezTo>
                    <a:pt x="9563" y="42624"/>
                    <a:pt x="0" y="33061"/>
                    <a:pt x="0" y="21317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535" name="Freihandform: Form 534">
              <a:extLst>
                <a:ext uri="{FF2B5EF4-FFF2-40B4-BE49-F238E27FC236}">
                  <a16:creationId xmlns:a16="http://schemas.microsoft.com/office/drawing/2014/main" id="{99421F41-FF12-4168-9539-3211855619DB}"/>
                </a:ext>
              </a:extLst>
            </p:cNvPr>
            <p:cNvSpPr/>
            <p:nvPr/>
          </p:nvSpPr>
          <p:spPr>
            <a:xfrm>
              <a:off x="3445978" y="5624431"/>
              <a:ext cx="552450" cy="38100"/>
            </a:xfrm>
            <a:custGeom>
              <a:avLst/>
              <a:gdLst>
                <a:gd name="connsiteX0" fmla="*/ 0 w 552450"/>
                <a:gd name="connsiteY0" fmla="*/ 21317 h 38100"/>
                <a:gd name="connsiteX1" fmla="*/ 21307 w 552450"/>
                <a:gd name="connsiteY1" fmla="*/ 0 h 38100"/>
                <a:gd name="connsiteX2" fmla="*/ 535038 w 552450"/>
                <a:gd name="connsiteY2" fmla="*/ 0 h 38100"/>
                <a:gd name="connsiteX3" fmla="*/ 556346 w 552450"/>
                <a:gd name="connsiteY3" fmla="*/ 21317 h 38100"/>
                <a:gd name="connsiteX4" fmla="*/ 535038 w 552450"/>
                <a:gd name="connsiteY4" fmla="*/ 42624 h 38100"/>
                <a:gd name="connsiteX5" fmla="*/ 21307 w 552450"/>
                <a:gd name="connsiteY5" fmla="*/ 42624 h 38100"/>
                <a:gd name="connsiteX6" fmla="*/ 0 w 552450"/>
                <a:gd name="connsiteY6" fmla="*/ 2131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2450" h="38100">
                  <a:moveTo>
                    <a:pt x="0" y="21317"/>
                  </a:moveTo>
                  <a:cubicBezTo>
                    <a:pt x="0" y="9573"/>
                    <a:pt x="9563" y="0"/>
                    <a:pt x="21307" y="0"/>
                  </a:cubicBezTo>
                  <a:lnTo>
                    <a:pt x="535038" y="0"/>
                  </a:lnTo>
                  <a:cubicBezTo>
                    <a:pt x="546783" y="0"/>
                    <a:pt x="556346" y="9573"/>
                    <a:pt x="556346" y="21317"/>
                  </a:cubicBezTo>
                  <a:cubicBezTo>
                    <a:pt x="556346" y="33071"/>
                    <a:pt x="546783" y="42624"/>
                    <a:pt x="535038" y="42624"/>
                  </a:cubicBezTo>
                  <a:lnTo>
                    <a:pt x="21307" y="42624"/>
                  </a:lnTo>
                  <a:cubicBezTo>
                    <a:pt x="9563" y="42624"/>
                    <a:pt x="0" y="33071"/>
                    <a:pt x="0" y="21317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536" name="Freihandform: Form 535">
              <a:extLst>
                <a:ext uri="{FF2B5EF4-FFF2-40B4-BE49-F238E27FC236}">
                  <a16:creationId xmlns:a16="http://schemas.microsoft.com/office/drawing/2014/main" id="{A7D724D4-AEB2-4A02-85D7-6F94ADF7C37B}"/>
                </a:ext>
              </a:extLst>
            </p:cNvPr>
            <p:cNvSpPr/>
            <p:nvPr/>
          </p:nvSpPr>
          <p:spPr>
            <a:xfrm>
              <a:off x="3474115" y="5970951"/>
              <a:ext cx="495300" cy="161925"/>
            </a:xfrm>
            <a:custGeom>
              <a:avLst/>
              <a:gdLst>
                <a:gd name="connsiteX0" fmla="*/ 0 w 495300"/>
                <a:gd name="connsiteY0" fmla="*/ 0 h 161925"/>
                <a:gd name="connsiteX1" fmla="*/ 500072 w 495300"/>
                <a:gd name="connsiteY1" fmla="*/ 0 h 161925"/>
                <a:gd name="connsiteX2" fmla="*/ 500072 w 495300"/>
                <a:gd name="connsiteY2" fmla="*/ 162925 h 161925"/>
                <a:gd name="connsiteX3" fmla="*/ 0 w 495300"/>
                <a:gd name="connsiteY3" fmla="*/ 16292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300" h="161925">
                  <a:moveTo>
                    <a:pt x="0" y="0"/>
                  </a:moveTo>
                  <a:lnTo>
                    <a:pt x="500072" y="0"/>
                  </a:lnTo>
                  <a:lnTo>
                    <a:pt x="500072" y="162925"/>
                  </a:lnTo>
                  <a:lnTo>
                    <a:pt x="0" y="162925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537" name="Freihandform: Form 536">
              <a:extLst>
                <a:ext uri="{FF2B5EF4-FFF2-40B4-BE49-F238E27FC236}">
                  <a16:creationId xmlns:a16="http://schemas.microsoft.com/office/drawing/2014/main" id="{D6750B51-B1F0-40A5-9B2C-FFCA72BF17E8}"/>
                </a:ext>
              </a:extLst>
            </p:cNvPr>
            <p:cNvSpPr/>
            <p:nvPr/>
          </p:nvSpPr>
          <p:spPr>
            <a:xfrm>
              <a:off x="3445978" y="6147525"/>
              <a:ext cx="552450" cy="38100"/>
            </a:xfrm>
            <a:custGeom>
              <a:avLst/>
              <a:gdLst>
                <a:gd name="connsiteX0" fmla="*/ 556346 w 552450"/>
                <a:gd name="connsiteY0" fmla="*/ 21307 h 38100"/>
                <a:gd name="connsiteX1" fmla="*/ 535038 w 552450"/>
                <a:gd name="connsiteY1" fmla="*/ 42624 h 38100"/>
                <a:gd name="connsiteX2" fmla="*/ 21307 w 552450"/>
                <a:gd name="connsiteY2" fmla="*/ 42624 h 38100"/>
                <a:gd name="connsiteX3" fmla="*/ 0 w 552450"/>
                <a:gd name="connsiteY3" fmla="*/ 21307 h 38100"/>
                <a:gd name="connsiteX4" fmla="*/ 21307 w 552450"/>
                <a:gd name="connsiteY4" fmla="*/ 0 h 38100"/>
                <a:gd name="connsiteX5" fmla="*/ 535038 w 552450"/>
                <a:gd name="connsiteY5" fmla="*/ 0 h 38100"/>
                <a:gd name="connsiteX6" fmla="*/ 556346 w 552450"/>
                <a:gd name="connsiteY6" fmla="*/ 213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2450" h="38100">
                  <a:moveTo>
                    <a:pt x="556346" y="21307"/>
                  </a:moveTo>
                  <a:cubicBezTo>
                    <a:pt x="556346" y="33061"/>
                    <a:pt x="546783" y="42624"/>
                    <a:pt x="535038" y="42624"/>
                  </a:cubicBezTo>
                  <a:lnTo>
                    <a:pt x="21307" y="42624"/>
                  </a:lnTo>
                  <a:cubicBezTo>
                    <a:pt x="9563" y="42624"/>
                    <a:pt x="0" y="33061"/>
                    <a:pt x="0" y="21307"/>
                  </a:cubicBezTo>
                  <a:cubicBezTo>
                    <a:pt x="0" y="9563"/>
                    <a:pt x="9563" y="0"/>
                    <a:pt x="21307" y="0"/>
                  </a:cubicBezTo>
                  <a:lnTo>
                    <a:pt x="535038" y="0"/>
                  </a:lnTo>
                  <a:cubicBezTo>
                    <a:pt x="546783" y="-10"/>
                    <a:pt x="556346" y="9554"/>
                    <a:pt x="556346" y="21307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538" name="Freihandform: Form 537">
              <a:extLst>
                <a:ext uri="{FF2B5EF4-FFF2-40B4-BE49-F238E27FC236}">
                  <a16:creationId xmlns:a16="http://schemas.microsoft.com/office/drawing/2014/main" id="{12F75EFE-E420-4B42-BE27-BA3FF7AE8730}"/>
                </a:ext>
              </a:extLst>
            </p:cNvPr>
            <p:cNvSpPr/>
            <p:nvPr/>
          </p:nvSpPr>
          <p:spPr>
            <a:xfrm>
              <a:off x="3445978" y="5914696"/>
              <a:ext cx="552450" cy="38100"/>
            </a:xfrm>
            <a:custGeom>
              <a:avLst/>
              <a:gdLst>
                <a:gd name="connsiteX0" fmla="*/ 556346 w 552450"/>
                <a:gd name="connsiteY0" fmla="*/ 21307 h 38100"/>
                <a:gd name="connsiteX1" fmla="*/ 535038 w 552450"/>
                <a:gd name="connsiteY1" fmla="*/ 42615 h 38100"/>
                <a:gd name="connsiteX2" fmla="*/ 21307 w 552450"/>
                <a:gd name="connsiteY2" fmla="*/ 42615 h 38100"/>
                <a:gd name="connsiteX3" fmla="*/ 0 w 552450"/>
                <a:gd name="connsiteY3" fmla="*/ 21307 h 38100"/>
                <a:gd name="connsiteX4" fmla="*/ 21307 w 552450"/>
                <a:gd name="connsiteY4" fmla="*/ 0 h 38100"/>
                <a:gd name="connsiteX5" fmla="*/ 535038 w 552450"/>
                <a:gd name="connsiteY5" fmla="*/ 0 h 38100"/>
                <a:gd name="connsiteX6" fmla="*/ 556346 w 552450"/>
                <a:gd name="connsiteY6" fmla="*/ 21307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2450" h="38100">
                  <a:moveTo>
                    <a:pt x="556346" y="21307"/>
                  </a:moveTo>
                  <a:cubicBezTo>
                    <a:pt x="556346" y="33052"/>
                    <a:pt x="546783" y="42615"/>
                    <a:pt x="535038" y="42615"/>
                  </a:cubicBezTo>
                  <a:lnTo>
                    <a:pt x="21307" y="42615"/>
                  </a:lnTo>
                  <a:cubicBezTo>
                    <a:pt x="9563" y="42615"/>
                    <a:pt x="0" y="33052"/>
                    <a:pt x="0" y="21307"/>
                  </a:cubicBezTo>
                  <a:cubicBezTo>
                    <a:pt x="0" y="9563"/>
                    <a:pt x="9563" y="0"/>
                    <a:pt x="21307" y="0"/>
                  </a:cubicBezTo>
                  <a:lnTo>
                    <a:pt x="535038" y="0"/>
                  </a:lnTo>
                  <a:cubicBezTo>
                    <a:pt x="546783" y="0"/>
                    <a:pt x="556346" y="9563"/>
                    <a:pt x="556346" y="21307"/>
                  </a:cubicBez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  <p:sp>
          <p:nvSpPr>
            <p:cNvPr id="539" name="Freihandform: Form 538">
              <a:extLst>
                <a:ext uri="{FF2B5EF4-FFF2-40B4-BE49-F238E27FC236}">
                  <a16:creationId xmlns:a16="http://schemas.microsoft.com/office/drawing/2014/main" id="{FB6311A3-DE13-48A0-A3B2-203D42977054}"/>
                </a:ext>
              </a:extLst>
            </p:cNvPr>
            <p:cNvSpPr/>
            <p:nvPr/>
          </p:nvSpPr>
          <p:spPr>
            <a:xfrm>
              <a:off x="3474115" y="5680695"/>
              <a:ext cx="500072" cy="220361"/>
            </a:xfrm>
            <a:custGeom>
              <a:avLst/>
              <a:gdLst>
                <a:gd name="connsiteX0" fmla="*/ 0 w 500072"/>
                <a:gd name="connsiteY0" fmla="*/ 0 h 220361"/>
                <a:gd name="connsiteX1" fmla="*/ 500072 w 500072"/>
                <a:gd name="connsiteY1" fmla="*/ 0 h 220361"/>
                <a:gd name="connsiteX2" fmla="*/ 500072 w 500072"/>
                <a:gd name="connsiteY2" fmla="*/ 220361 h 220361"/>
                <a:gd name="connsiteX3" fmla="*/ 0 w 500072"/>
                <a:gd name="connsiteY3" fmla="*/ 220361 h 220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0072" h="220361">
                  <a:moveTo>
                    <a:pt x="0" y="0"/>
                  </a:moveTo>
                  <a:lnTo>
                    <a:pt x="500072" y="0"/>
                  </a:lnTo>
                  <a:lnTo>
                    <a:pt x="500072" y="220361"/>
                  </a:lnTo>
                  <a:lnTo>
                    <a:pt x="0" y="220361"/>
                  </a:lnTo>
                  <a:close/>
                </a:path>
              </a:pathLst>
            </a:custGeom>
            <a:grpFill/>
            <a:ln w="254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endParaRPr>
            </a:p>
          </p:txBody>
        </p:sp>
      </p:grpSp>
      <p:sp>
        <p:nvSpPr>
          <p:cNvPr id="541" name="Rechteck 540">
            <a:extLst>
              <a:ext uri="{FF2B5EF4-FFF2-40B4-BE49-F238E27FC236}">
                <a16:creationId xmlns:a16="http://schemas.microsoft.com/office/drawing/2014/main" id="{66B6323C-EFFE-41F1-B294-657BA1D698BA}"/>
              </a:ext>
            </a:extLst>
          </p:cNvPr>
          <p:cNvSpPr/>
          <p:nvPr/>
        </p:nvSpPr>
        <p:spPr>
          <a:xfrm>
            <a:off x="251505" y="5315777"/>
            <a:ext cx="2780402" cy="8618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>
              <a:buClr>
                <a:schemeClr val="accent1"/>
              </a:buClr>
            </a:pPr>
            <a:r>
              <a:rPr lang="es-ES_tradnl" sz="1400" dirty="0">
                <a:solidFill>
                  <a:srgbClr val="65AC1E"/>
                </a:solidFill>
              </a:rPr>
              <a:t>BASF puede asignar la materia prima reciclada a todos los productos químicos producidos en sus </a:t>
            </a:r>
            <a:r>
              <a:rPr lang="es-ES_tradnl" sz="1400" dirty="0" err="1">
                <a:solidFill>
                  <a:srgbClr val="65AC1E"/>
                </a:solidFill>
              </a:rPr>
              <a:t>sites</a:t>
            </a:r>
            <a:r>
              <a:rPr lang="es-ES_tradnl" sz="1400" dirty="0">
                <a:solidFill>
                  <a:srgbClr val="65AC1E"/>
                </a:solidFill>
              </a:rPr>
              <a:t> a través de un enfoque de balance de masa certificado.</a:t>
            </a:r>
            <a:endParaRPr lang="de-DE" sz="1400" dirty="0">
              <a:solidFill>
                <a:srgbClr val="65AC1E"/>
              </a:solidFill>
              <a:latin typeface="Arial"/>
            </a:endParaRPr>
          </a:p>
        </p:txBody>
      </p:sp>
      <p:sp>
        <p:nvSpPr>
          <p:cNvPr id="542" name="Textplatzhalter 31">
            <a:extLst>
              <a:ext uri="{FF2B5EF4-FFF2-40B4-BE49-F238E27FC236}">
                <a16:creationId xmlns:a16="http://schemas.microsoft.com/office/drawing/2014/main" id="{80CA8411-1C05-43D6-A967-5DA0ABBD9E3B}"/>
              </a:ext>
            </a:extLst>
          </p:cNvPr>
          <p:cNvSpPr txBox="1">
            <a:spLocks/>
          </p:cNvSpPr>
          <p:nvPr/>
        </p:nvSpPr>
        <p:spPr>
          <a:xfrm>
            <a:off x="375863" y="3488781"/>
            <a:ext cx="1768055" cy="9420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400" b="0" i="0">
                <a:solidFill>
                  <a:schemeClr val="bg1">
                    <a:lumMod val="50000"/>
                  </a:schemeClr>
                </a:solidFill>
                <a:latin typeface="Arial"/>
              </a:defRPr>
            </a:lvl1pPr>
            <a:lvl2pPr marL="717550" indent="-360363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sz="2000" b="0" i="0">
                <a:latin typeface="Arial"/>
              </a:defRPr>
            </a:lvl2pPr>
            <a:lvl3pPr marL="1074738" indent="-357188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●"/>
              <a:tabLst/>
              <a:defRPr sz="2000" b="0" i="0">
                <a:latin typeface="Arial"/>
              </a:defRPr>
            </a:lvl3pPr>
            <a:lvl4pPr marL="1436688" indent="-36195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−"/>
              <a:defRPr sz="2000" b="0" i="0">
                <a:latin typeface="Arial"/>
              </a:defRPr>
            </a:lvl4pPr>
            <a:lvl5pPr marL="2057400" indent="-228600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>
                <a:latin typeface="Arial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s-ES_tradnl" dirty="0">
                <a:solidFill>
                  <a:srgbClr val="00793A"/>
                </a:solidFill>
              </a:rPr>
              <a:t>Nuestros clientes utilizan estos productos químicos para fabricar sus propios productos.</a:t>
            </a:r>
            <a:endParaRPr lang="de-DE" dirty="0">
              <a:solidFill>
                <a:srgbClr val="00793A"/>
              </a:solidFill>
            </a:endParaRPr>
          </a:p>
        </p:txBody>
      </p:sp>
      <p:grpSp>
        <p:nvGrpSpPr>
          <p:cNvPr id="545" name="Grafik 14">
            <a:extLst>
              <a:ext uri="{FF2B5EF4-FFF2-40B4-BE49-F238E27FC236}">
                <a16:creationId xmlns:a16="http://schemas.microsoft.com/office/drawing/2014/main" id="{E7006E62-AE87-48A1-8925-03F2A1D56BD7}"/>
              </a:ext>
            </a:extLst>
          </p:cNvPr>
          <p:cNvGrpSpPr/>
          <p:nvPr/>
        </p:nvGrpSpPr>
        <p:grpSpPr>
          <a:xfrm>
            <a:off x="2863047" y="3536446"/>
            <a:ext cx="444810" cy="444810"/>
            <a:chOff x="9359330" y="5468297"/>
            <a:chExt cx="952500" cy="952500"/>
          </a:xfrm>
          <a:solidFill>
            <a:schemeClr val="bg1"/>
          </a:solidFill>
        </p:grpSpPr>
        <p:sp>
          <p:nvSpPr>
            <p:cNvPr id="546" name="Freihandform: Form 545">
              <a:extLst>
                <a:ext uri="{FF2B5EF4-FFF2-40B4-BE49-F238E27FC236}">
                  <a16:creationId xmlns:a16="http://schemas.microsoft.com/office/drawing/2014/main" id="{AAA05157-724B-4059-8DEE-CCA819896BAD}"/>
                </a:ext>
              </a:extLst>
            </p:cNvPr>
            <p:cNvSpPr/>
            <p:nvPr/>
          </p:nvSpPr>
          <p:spPr>
            <a:xfrm>
              <a:off x="9716518" y="5527828"/>
              <a:ext cx="446484" cy="833438"/>
            </a:xfrm>
            <a:custGeom>
              <a:avLst/>
              <a:gdLst>
                <a:gd name="connsiteX0" fmla="*/ 386953 w 446484"/>
                <a:gd name="connsiteY0" fmla="*/ 297656 h 833437"/>
                <a:gd name="connsiteX1" fmla="*/ 446484 w 446484"/>
                <a:gd name="connsiteY1" fmla="*/ 301660 h 833437"/>
                <a:gd name="connsiteX2" fmla="*/ 446484 w 446484"/>
                <a:gd name="connsiteY2" fmla="*/ 0 h 833437"/>
                <a:gd name="connsiteX3" fmla="*/ 357188 w 446484"/>
                <a:gd name="connsiteY3" fmla="*/ 0 h 833437"/>
                <a:gd name="connsiteX4" fmla="*/ 357188 w 446484"/>
                <a:gd name="connsiteY4" fmla="*/ 223242 h 833437"/>
                <a:gd name="connsiteX5" fmla="*/ 342305 w 446484"/>
                <a:gd name="connsiteY5" fmla="*/ 238125 h 833437"/>
                <a:gd name="connsiteX6" fmla="*/ 104180 w 446484"/>
                <a:gd name="connsiteY6" fmla="*/ 238125 h 833437"/>
                <a:gd name="connsiteX7" fmla="*/ 89297 w 446484"/>
                <a:gd name="connsiteY7" fmla="*/ 223242 h 833437"/>
                <a:gd name="connsiteX8" fmla="*/ 89297 w 446484"/>
                <a:gd name="connsiteY8" fmla="*/ 0 h 833437"/>
                <a:gd name="connsiteX9" fmla="*/ 0 w 446484"/>
                <a:gd name="connsiteY9" fmla="*/ 0 h 833437"/>
                <a:gd name="connsiteX10" fmla="*/ 0 w 446484"/>
                <a:gd name="connsiteY10" fmla="*/ 151105 h 833437"/>
                <a:gd name="connsiteX11" fmla="*/ 29766 w 446484"/>
                <a:gd name="connsiteY11" fmla="*/ 210458 h 833437"/>
                <a:gd name="connsiteX12" fmla="*/ 29766 w 446484"/>
                <a:gd name="connsiteY12" fmla="*/ 285318 h 833437"/>
                <a:gd name="connsiteX13" fmla="*/ 16684 w 446484"/>
                <a:gd name="connsiteY13" fmla="*/ 316900 h 833437"/>
                <a:gd name="connsiteX14" fmla="*/ 16684 w 446484"/>
                <a:gd name="connsiteY14" fmla="*/ 337944 h 833437"/>
                <a:gd name="connsiteX15" fmla="*/ 29766 w 446484"/>
                <a:gd name="connsiteY15" fmla="*/ 369525 h 833437"/>
                <a:gd name="connsiteX16" fmla="*/ 29766 w 446484"/>
                <a:gd name="connsiteY16" fmla="*/ 374615 h 833437"/>
                <a:gd name="connsiteX17" fmla="*/ 16684 w 446484"/>
                <a:gd name="connsiteY17" fmla="*/ 406197 h 833437"/>
                <a:gd name="connsiteX18" fmla="*/ 16684 w 446484"/>
                <a:gd name="connsiteY18" fmla="*/ 427241 h 833437"/>
                <a:gd name="connsiteX19" fmla="*/ 29766 w 446484"/>
                <a:gd name="connsiteY19" fmla="*/ 458822 h 833437"/>
                <a:gd name="connsiteX20" fmla="*/ 29766 w 446484"/>
                <a:gd name="connsiteY20" fmla="*/ 463912 h 833437"/>
                <a:gd name="connsiteX21" fmla="*/ 16684 w 446484"/>
                <a:gd name="connsiteY21" fmla="*/ 495494 h 833437"/>
                <a:gd name="connsiteX22" fmla="*/ 16684 w 446484"/>
                <a:gd name="connsiteY22" fmla="*/ 516538 h 833437"/>
                <a:gd name="connsiteX23" fmla="*/ 29766 w 446484"/>
                <a:gd name="connsiteY23" fmla="*/ 548119 h 833437"/>
                <a:gd name="connsiteX24" fmla="*/ 29766 w 446484"/>
                <a:gd name="connsiteY24" fmla="*/ 553209 h 833437"/>
                <a:gd name="connsiteX25" fmla="*/ 16684 w 446484"/>
                <a:gd name="connsiteY25" fmla="*/ 584790 h 833437"/>
                <a:gd name="connsiteX26" fmla="*/ 16684 w 446484"/>
                <a:gd name="connsiteY26" fmla="*/ 605835 h 833437"/>
                <a:gd name="connsiteX27" fmla="*/ 29766 w 446484"/>
                <a:gd name="connsiteY27" fmla="*/ 637416 h 833437"/>
                <a:gd name="connsiteX28" fmla="*/ 29766 w 446484"/>
                <a:gd name="connsiteY28" fmla="*/ 642506 h 833437"/>
                <a:gd name="connsiteX29" fmla="*/ 16684 w 446484"/>
                <a:gd name="connsiteY29" fmla="*/ 674087 h 833437"/>
                <a:gd name="connsiteX30" fmla="*/ 16684 w 446484"/>
                <a:gd name="connsiteY30" fmla="*/ 695132 h 833437"/>
                <a:gd name="connsiteX31" fmla="*/ 29766 w 446484"/>
                <a:gd name="connsiteY31" fmla="*/ 726713 h 833437"/>
                <a:gd name="connsiteX32" fmla="*/ 29766 w 446484"/>
                <a:gd name="connsiteY32" fmla="*/ 788789 h 833437"/>
                <a:gd name="connsiteX33" fmla="*/ 14496 w 446484"/>
                <a:gd name="connsiteY33" fmla="*/ 833438 h 833437"/>
                <a:gd name="connsiteX34" fmla="*/ 237158 w 446484"/>
                <a:gd name="connsiteY34" fmla="*/ 833438 h 833437"/>
                <a:gd name="connsiteX35" fmla="*/ 235297 w 446484"/>
                <a:gd name="connsiteY35" fmla="*/ 803672 h 833437"/>
                <a:gd name="connsiteX36" fmla="*/ 74414 w 446484"/>
                <a:gd name="connsiteY36" fmla="*/ 803672 h 833437"/>
                <a:gd name="connsiteX37" fmla="*/ 74414 w 446484"/>
                <a:gd name="connsiteY37" fmla="*/ 773906 h 833437"/>
                <a:gd name="connsiteX38" fmla="*/ 233437 w 446484"/>
                <a:gd name="connsiteY38" fmla="*/ 773906 h 833437"/>
                <a:gd name="connsiteX39" fmla="*/ 208538 w 446484"/>
                <a:gd name="connsiteY39" fmla="*/ 376431 h 833437"/>
                <a:gd name="connsiteX40" fmla="*/ 208865 w 446484"/>
                <a:gd name="connsiteY40" fmla="*/ 376431 h 833437"/>
                <a:gd name="connsiteX41" fmla="*/ 208672 w 446484"/>
                <a:gd name="connsiteY41" fmla="*/ 374794 h 833437"/>
                <a:gd name="connsiteX42" fmla="*/ 208464 w 446484"/>
                <a:gd name="connsiteY42" fmla="*/ 374794 h 833437"/>
                <a:gd name="connsiteX43" fmla="*/ 208359 w 446484"/>
                <a:gd name="connsiteY43" fmla="*/ 372070 h 833437"/>
                <a:gd name="connsiteX44" fmla="*/ 386953 w 446484"/>
                <a:gd name="connsiteY44" fmla="*/ 297656 h 83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46484" h="833437">
                  <a:moveTo>
                    <a:pt x="386953" y="297656"/>
                  </a:moveTo>
                  <a:cubicBezTo>
                    <a:pt x="406864" y="297653"/>
                    <a:pt x="426753" y="298991"/>
                    <a:pt x="446484" y="301660"/>
                  </a:cubicBezTo>
                  <a:lnTo>
                    <a:pt x="446484" y="0"/>
                  </a:lnTo>
                  <a:lnTo>
                    <a:pt x="357188" y="0"/>
                  </a:lnTo>
                  <a:lnTo>
                    <a:pt x="357188" y="223242"/>
                  </a:lnTo>
                  <a:cubicBezTo>
                    <a:pt x="357188" y="231462"/>
                    <a:pt x="350524" y="238125"/>
                    <a:pt x="342305" y="238125"/>
                  </a:cubicBezTo>
                  <a:lnTo>
                    <a:pt x="104180" y="238125"/>
                  </a:lnTo>
                  <a:cubicBezTo>
                    <a:pt x="95960" y="238125"/>
                    <a:pt x="89297" y="231462"/>
                    <a:pt x="89297" y="223242"/>
                  </a:cubicBezTo>
                  <a:lnTo>
                    <a:pt x="89297" y="0"/>
                  </a:lnTo>
                  <a:lnTo>
                    <a:pt x="0" y="0"/>
                  </a:lnTo>
                  <a:lnTo>
                    <a:pt x="0" y="151105"/>
                  </a:lnTo>
                  <a:cubicBezTo>
                    <a:pt x="18730" y="165085"/>
                    <a:pt x="29763" y="187086"/>
                    <a:pt x="29766" y="210458"/>
                  </a:cubicBezTo>
                  <a:lnTo>
                    <a:pt x="29766" y="285318"/>
                  </a:lnTo>
                  <a:cubicBezTo>
                    <a:pt x="29795" y="297170"/>
                    <a:pt x="25085" y="308541"/>
                    <a:pt x="16684" y="316900"/>
                  </a:cubicBezTo>
                  <a:cubicBezTo>
                    <a:pt x="10874" y="322711"/>
                    <a:pt x="10874" y="332132"/>
                    <a:pt x="16684" y="337944"/>
                  </a:cubicBezTo>
                  <a:cubicBezTo>
                    <a:pt x="25085" y="346303"/>
                    <a:pt x="29795" y="357674"/>
                    <a:pt x="29766" y="369525"/>
                  </a:cubicBezTo>
                  <a:lnTo>
                    <a:pt x="29766" y="374615"/>
                  </a:lnTo>
                  <a:cubicBezTo>
                    <a:pt x="29795" y="386467"/>
                    <a:pt x="25085" y="397838"/>
                    <a:pt x="16684" y="406197"/>
                  </a:cubicBezTo>
                  <a:cubicBezTo>
                    <a:pt x="10874" y="412008"/>
                    <a:pt x="10874" y="421429"/>
                    <a:pt x="16684" y="427241"/>
                  </a:cubicBezTo>
                  <a:cubicBezTo>
                    <a:pt x="25085" y="435600"/>
                    <a:pt x="29795" y="446971"/>
                    <a:pt x="29766" y="458822"/>
                  </a:cubicBezTo>
                  <a:lnTo>
                    <a:pt x="29766" y="463912"/>
                  </a:lnTo>
                  <a:cubicBezTo>
                    <a:pt x="29795" y="475763"/>
                    <a:pt x="25085" y="487135"/>
                    <a:pt x="16684" y="495494"/>
                  </a:cubicBezTo>
                  <a:cubicBezTo>
                    <a:pt x="10874" y="501305"/>
                    <a:pt x="10874" y="510726"/>
                    <a:pt x="16684" y="516538"/>
                  </a:cubicBezTo>
                  <a:cubicBezTo>
                    <a:pt x="25085" y="524897"/>
                    <a:pt x="29795" y="536268"/>
                    <a:pt x="29766" y="548119"/>
                  </a:cubicBezTo>
                  <a:lnTo>
                    <a:pt x="29766" y="553209"/>
                  </a:lnTo>
                  <a:cubicBezTo>
                    <a:pt x="29795" y="565060"/>
                    <a:pt x="25085" y="576431"/>
                    <a:pt x="16684" y="584790"/>
                  </a:cubicBezTo>
                  <a:cubicBezTo>
                    <a:pt x="10874" y="590602"/>
                    <a:pt x="10874" y="600023"/>
                    <a:pt x="16684" y="605835"/>
                  </a:cubicBezTo>
                  <a:cubicBezTo>
                    <a:pt x="25085" y="614194"/>
                    <a:pt x="29795" y="625565"/>
                    <a:pt x="29766" y="637416"/>
                  </a:cubicBezTo>
                  <a:lnTo>
                    <a:pt x="29766" y="642506"/>
                  </a:lnTo>
                  <a:cubicBezTo>
                    <a:pt x="29795" y="654357"/>
                    <a:pt x="25085" y="665728"/>
                    <a:pt x="16684" y="674087"/>
                  </a:cubicBezTo>
                  <a:cubicBezTo>
                    <a:pt x="10874" y="679899"/>
                    <a:pt x="10874" y="689320"/>
                    <a:pt x="16684" y="695132"/>
                  </a:cubicBezTo>
                  <a:cubicBezTo>
                    <a:pt x="25085" y="703491"/>
                    <a:pt x="29795" y="714862"/>
                    <a:pt x="29766" y="726713"/>
                  </a:cubicBezTo>
                  <a:lnTo>
                    <a:pt x="29766" y="788789"/>
                  </a:lnTo>
                  <a:cubicBezTo>
                    <a:pt x="29711" y="804944"/>
                    <a:pt x="24345" y="820633"/>
                    <a:pt x="14496" y="833438"/>
                  </a:cubicBezTo>
                  <a:lnTo>
                    <a:pt x="237158" y="833438"/>
                  </a:lnTo>
                  <a:lnTo>
                    <a:pt x="235297" y="803672"/>
                  </a:lnTo>
                  <a:lnTo>
                    <a:pt x="74414" y="803672"/>
                  </a:lnTo>
                  <a:lnTo>
                    <a:pt x="74414" y="773906"/>
                  </a:lnTo>
                  <a:lnTo>
                    <a:pt x="233437" y="773906"/>
                  </a:lnTo>
                  <a:lnTo>
                    <a:pt x="208538" y="376431"/>
                  </a:lnTo>
                  <a:lnTo>
                    <a:pt x="208865" y="376431"/>
                  </a:lnTo>
                  <a:cubicBezTo>
                    <a:pt x="208865" y="375880"/>
                    <a:pt x="208702" y="375345"/>
                    <a:pt x="208672" y="374794"/>
                  </a:cubicBezTo>
                  <a:lnTo>
                    <a:pt x="208464" y="374794"/>
                  </a:lnTo>
                  <a:cubicBezTo>
                    <a:pt x="208359" y="373886"/>
                    <a:pt x="208359" y="372993"/>
                    <a:pt x="208359" y="372070"/>
                  </a:cubicBezTo>
                  <a:cubicBezTo>
                    <a:pt x="208359" y="323210"/>
                    <a:pt x="298207" y="297656"/>
                    <a:pt x="386953" y="297656"/>
                  </a:cubicBez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7" name="Freihandform: Form 546">
              <a:extLst>
                <a:ext uri="{FF2B5EF4-FFF2-40B4-BE49-F238E27FC236}">
                  <a16:creationId xmlns:a16="http://schemas.microsoft.com/office/drawing/2014/main" id="{3394D536-EA7C-45B5-9BC8-766A09578A89}"/>
                </a:ext>
              </a:extLst>
            </p:cNvPr>
            <p:cNvSpPr/>
            <p:nvPr/>
          </p:nvSpPr>
          <p:spPr>
            <a:xfrm>
              <a:off x="9418861" y="5617125"/>
              <a:ext cx="297656" cy="744141"/>
            </a:xfrm>
            <a:custGeom>
              <a:avLst/>
              <a:gdLst>
                <a:gd name="connsiteX0" fmla="*/ 0 w 297656"/>
                <a:gd name="connsiteY0" fmla="*/ 637416 h 744140"/>
                <a:gd name="connsiteX1" fmla="*/ 0 w 297656"/>
                <a:gd name="connsiteY1" fmla="*/ 699492 h 744140"/>
                <a:gd name="connsiteX2" fmla="*/ 44649 w 297656"/>
                <a:gd name="connsiteY2" fmla="*/ 744141 h 744140"/>
                <a:gd name="connsiteX3" fmla="*/ 253008 w 297656"/>
                <a:gd name="connsiteY3" fmla="*/ 744141 h 744140"/>
                <a:gd name="connsiteX4" fmla="*/ 297656 w 297656"/>
                <a:gd name="connsiteY4" fmla="*/ 699492 h 744140"/>
                <a:gd name="connsiteX5" fmla="*/ 297656 w 297656"/>
                <a:gd name="connsiteY5" fmla="*/ 637416 h 744140"/>
                <a:gd name="connsiteX6" fmla="*/ 293296 w 297656"/>
                <a:gd name="connsiteY6" fmla="*/ 626879 h 744140"/>
                <a:gd name="connsiteX7" fmla="*/ 293290 w 297656"/>
                <a:gd name="connsiteY7" fmla="*/ 563737 h 744140"/>
                <a:gd name="connsiteX8" fmla="*/ 293296 w 297656"/>
                <a:gd name="connsiteY8" fmla="*/ 563731 h 744140"/>
                <a:gd name="connsiteX9" fmla="*/ 297656 w 297656"/>
                <a:gd name="connsiteY9" fmla="*/ 553209 h 744140"/>
                <a:gd name="connsiteX10" fmla="*/ 297656 w 297656"/>
                <a:gd name="connsiteY10" fmla="*/ 548119 h 744140"/>
                <a:gd name="connsiteX11" fmla="*/ 293296 w 297656"/>
                <a:gd name="connsiteY11" fmla="*/ 537582 h 744140"/>
                <a:gd name="connsiteX12" fmla="*/ 293290 w 297656"/>
                <a:gd name="connsiteY12" fmla="*/ 474440 h 744140"/>
                <a:gd name="connsiteX13" fmla="*/ 293296 w 297656"/>
                <a:gd name="connsiteY13" fmla="*/ 474434 h 744140"/>
                <a:gd name="connsiteX14" fmla="*/ 297656 w 297656"/>
                <a:gd name="connsiteY14" fmla="*/ 463912 h 744140"/>
                <a:gd name="connsiteX15" fmla="*/ 297656 w 297656"/>
                <a:gd name="connsiteY15" fmla="*/ 458822 h 744140"/>
                <a:gd name="connsiteX16" fmla="*/ 293296 w 297656"/>
                <a:gd name="connsiteY16" fmla="*/ 448285 h 744140"/>
                <a:gd name="connsiteX17" fmla="*/ 293290 w 297656"/>
                <a:gd name="connsiteY17" fmla="*/ 385143 h 744140"/>
                <a:gd name="connsiteX18" fmla="*/ 293296 w 297656"/>
                <a:gd name="connsiteY18" fmla="*/ 385137 h 744140"/>
                <a:gd name="connsiteX19" fmla="*/ 297656 w 297656"/>
                <a:gd name="connsiteY19" fmla="*/ 374615 h 744140"/>
                <a:gd name="connsiteX20" fmla="*/ 297656 w 297656"/>
                <a:gd name="connsiteY20" fmla="*/ 369525 h 744140"/>
                <a:gd name="connsiteX21" fmla="*/ 293296 w 297656"/>
                <a:gd name="connsiteY21" fmla="*/ 358988 h 744140"/>
                <a:gd name="connsiteX22" fmla="*/ 293290 w 297656"/>
                <a:gd name="connsiteY22" fmla="*/ 295846 h 744140"/>
                <a:gd name="connsiteX23" fmla="*/ 293296 w 297656"/>
                <a:gd name="connsiteY23" fmla="*/ 295841 h 744140"/>
                <a:gd name="connsiteX24" fmla="*/ 297656 w 297656"/>
                <a:gd name="connsiteY24" fmla="*/ 285318 h 744140"/>
                <a:gd name="connsiteX25" fmla="*/ 297656 w 297656"/>
                <a:gd name="connsiteY25" fmla="*/ 280228 h 744140"/>
                <a:gd name="connsiteX26" fmla="*/ 293296 w 297656"/>
                <a:gd name="connsiteY26" fmla="*/ 269691 h 744140"/>
                <a:gd name="connsiteX27" fmla="*/ 293290 w 297656"/>
                <a:gd name="connsiteY27" fmla="*/ 206549 h 744140"/>
                <a:gd name="connsiteX28" fmla="*/ 293296 w 297656"/>
                <a:gd name="connsiteY28" fmla="*/ 206544 h 744140"/>
                <a:gd name="connsiteX29" fmla="*/ 297656 w 297656"/>
                <a:gd name="connsiteY29" fmla="*/ 196022 h 744140"/>
                <a:gd name="connsiteX30" fmla="*/ 297656 w 297656"/>
                <a:gd name="connsiteY30" fmla="*/ 121161 h 744140"/>
                <a:gd name="connsiteX31" fmla="*/ 277773 w 297656"/>
                <a:gd name="connsiteY31" fmla="*/ 83954 h 744140"/>
                <a:gd name="connsiteX32" fmla="*/ 214982 w 297656"/>
                <a:gd name="connsiteY32" fmla="*/ 42089 h 744140"/>
                <a:gd name="connsiteX33" fmla="*/ 208359 w 297656"/>
                <a:gd name="connsiteY33" fmla="*/ 29766 h 744140"/>
                <a:gd name="connsiteX34" fmla="*/ 208359 w 297656"/>
                <a:gd name="connsiteY34" fmla="*/ 0 h 744140"/>
                <a:gd name="connsiteX35" fmla="*/ 89297 w 297656"/>
                <a:gd name="connsiteY35" fmla="*/ 0 h 744140"/>
                <a:gd name="connsiteX36" fmla="*/ 89297 w 297656"/>
                <a:gd name="connsiteY36" fmla="*/ 29766 h 744140"/>
                <a:gd name="connsiteX37" fmla="*/ 82674 w 297656"/>
                <a:gd name="connsiteY37" fmla="*/ 42148 h 744140"/>
                <a:gd name="connsiteX38" fmla="*/ 19884 w 297656"/>
                <a:gd name="connsiteY38" fmla="*/ 84013 h 744140"/>
                <a:gd name="connsiteX39" fmla="*/ 0 w 297656"/>
                <a:gd name="connsiteY39" fmla="*/ 121161 h 744140"/>
                <a:gd name="connsiteX40" fmla="*/ 0 w 297656"/>
                <a:gd name="connsiteY40" fmla="*/ 196022 h 744140"/>
                <a:gd name="connsiteX41" fmla="*/ 4361 w 297656"/>
                <a:gd name="connsiteY41" fmla="*/ 206559 h 744140"/>
                <a:gd name="connsiteX42" fmla="*/ 4366 w 297656"/>
                <a:gd name="connsiteY42" fmla="*/ 269701 h 744140"/>
                <a:gd name="connsiteX43" fmla="*/ 4361 w 297656"/>
                <a:gd name="connsiteY43" fmla="*/ 269706 h 744140"/>
                <a:gd name="connsiteX44" fmla="*/ 0 w 297656"/>
                <a:gd name="connsiteY44" fmla="*/ 280228 h 744140"/>
                <a:gd name="connsiteX45" fmla="*/ 0 w 297656"/>
                <a:gd name="connsiteY45" fmla="*/ 285318 h 744140"/>
                <a:gd name="connsiteX46" fmla="*/ 4361 w 297656"/>
                <a:gd name="connsiteY46" fmla="*/ 295855 h 744140"/>
                <a:gd name="connsiteX47" fmla="*/ 4366 w 297656"/>
                <a:gd name="connsiteY47" fmla="*/ 358998 h 744140"/>
                <a:gd name="connsiteX48" fmla="*/ 4361 w 297656"/>
                <a:gd name="connsiteY48" fmla="*/ 359003 h 744140"/>
                <a:gd name="connsiteX49" fmla="*/ 0 w 297656"/>
                <a:gd name="connsiteY49" fmla="*/ 369525 h 744140"/>
                <a:gd name="connsiteX50" fmla="*/ 0 w 297656"/>
                <a:gd name="connsiteY50" fmla="*/ 374615 h 744140"/>
                <a:gd name="connsiteX51" fmla="*/ 4361 w 297656"/>
                <a:gd name="connsiteY51" fmla="*/ 385152 h 744140"/>
                <a:gd name="connsiteX52" fmla="*/ 4366 w 297656"/>
                <a:gd name="connsiteY52" fmla="*/ 448295 h 744140"/>
                <a:gd name="connsiteX53" fmla="*/ 4361 w 297656"/>
                <a:gd name="connsiteY53" fmla="*/ 448300 h 744140"/>
                <a:gd name="connsiteX54" fmla="*/ 0 w 297656"/>
                <a:gd name="connsiteY54" fmla="*/ 458822 h 744140"/>
                <a:gd name="connsiteX55" fmla="*/ 0 w 297656"/>
                <a:gd name="connsiteY55" fmla="*/ 463912 h 744140"/>
                <a:gd name="connsiteX56" fmla="*/ 4361 w 297656"/>
                <a:gd name="connsiteY56" fmla="*/ 474449 h 744140"/>
                <a:gd name="connsiteX57" fmla="*/ 4366 w 297656"/>
                <a:gd name="connsiteY57" fmla="*/ 537592 h 744140"/>
                <a:gd name="connsiteX58" fmla="*/ 4361 w 297656"/>
                <a:gd name="connsiteY58" fmla="*/ 537597 h 744140"/>
                <a:gd name="connsiteX59" fmla="*/ 0 w 297656"/>
                <a:gd name="connsiteY59" fmla="*/ 548119 h 744140"/>
                <a:gd name="connsiteX60" fmla="*/ 0 w 297656"/>
                <a:gd name="connsiteY60" fmla="*/ 553209 h 744140"/>
                <a:gd name="connsiteX61" fmla="*/ 4361 w 297656"/>
                <a:gd name="connsiteY61" fmla="*/ 563746 h 744140"/>
                <a:gd name="connsiteX62" fmla="*/ 4366 w 297656"/>
                <a:gd name="connsiteY62" fmla="*/ 626889 h 744140"/>
                <a:gd name="connsiteX63" fmla="*/ 4361 w 297656"/>
                <a:gd name="connsiteY63" fmla="*/ 626894 h 744140"/>
                <a:gd name="connsiteX64" fmla="*/ 0 w 297656"/>
                <a:gd name="connsiteY64" fmla="*/ 637416 h 744140"/>
                <a:gd name="connsiteX65" fmla="*/ 253008 w 297656"/>
                <a:gd name="connsiteY65" fmla="*/ 610195 h 744140"/>
                <a:gd name="connsiteX66" fmla="*/ 44649 w 297656"/>
                <a:gd name="connsiteY66" fmla="*/ 610195 h 744140"/>
                <a:gd name="connsiteX67" fmla="*/ 44649 w 297656"/>
                <a:gd name="connsiteY67" fmla="*/ 580430 h 744140"/>
                <a:gd name="connsiteX68" fmla="*/ 253008 w 297656"/>
                <a:gd name="connsiteY68" fmla="*/ 580430 h 744140"/>
                <a:gd name="connsiteX69" fmla="*/ 253008 w 297656"/>
                <a:gd name="connsiteY69" fmla="*/ 520898 h 744140"/>
                <a:gd name="connsiteX70" fmla="*/ 44649 w 297656"/>
                <a:gd name="connsiteY70" fmla="*/ 520898 h 744140"/>
                <a:gd name="connsiteX71" fmla="*/ 44649 w 297656"/>
                <a:gd name="connsiteY71" fmla="*/ 491133 h 744140"/>
                <a:gd name="connsiteX72" fmla="*/ 253008 w 297656"/>
                <a:gd name="connsiteY72" fmla="*/ 491133 h 744140"/>
                <a:gd name="connsiteX73" fmla="*/ 253008 w 297656"/>
                <a:gd name="connsiteY73" fmla="*/ 431602 h 744140"/>
                <a:gd name="connsiteX74" fmla="*/ 44649 w 297656"/>
                <a:gd name="connsiteY74" fmla="*/ 431602 h 744140"/>
                <a:gd name="connsiteX75" fmla="*/ 44649 w 297656"/>
                <a:gd name="connsiteY75" fmla="*/ 401836 h 744140"/>
                <a:gd name="connsiteX76" fmla="*/ 253008 w 297656"/>
                <a:gd name="connsiteY76" fmla="*/ 401836 h 744140"/>
                <a:gd name="connsiteX77" fmla="*/ 253008 w 297656"/>
                <a:gd name="connsiteY77" fmla="*/ 342305 h 744140"/>
                <a:gd name="connsiteX78" fmla="*/ 44649 w 297656"/>
                <a:gd name="connsiteY78" fmla="*/ 342305 h 744140"/>
                <a:gd name="connsiteX79" fmla="*/ 44649 w 297656"/>
                <a:gd name="connsiteY79" fmla="*/ 312539 h 744140"/>
                <a:gd name="connsiteX80" fmla="*/ 253008 w 297656"/>
                <a:gd name="connsiteY80" fmla="*/ 312539 h 744140"/>
                <a:gd name="connsiteX81" fmla="*/ 253008 w 297656"/>
                <a:gd name="connsiteY81" fmla="*/ 223242 h 744140"/>
                <a:gd name="connsiteX82" fmla="*/ 253008 w 297656"/>
                <a:gd name="connsiteY82" fmla="*/ 253008 h 744140"/>
                <a:gd name="connsiteX83" fmla="*/ 44649 w 297656"/>
                <a:gd name="connsiteY83" fmla="*/ 253008 h 744140"/>
                <a:gd name="connsiteX84" fmla="*/ 44649 w 297656"/>
                <a:gd name="connsiteY84" fmla="*/ 223242 h 744140"/>
                <a:gd name="connsiteX85" fmla="*/ 95920 w 297656"/>
                <a:gd name="connsiteY85" fmla="*/ 69086 h 744140"/>
                <a:gd name="connsiteX86" fmla="*/ 112440 w 297656"/>
                <a:gd name="connsiteY86" fmla="*/ 93851 h 744140"/>
                <a:gd name="connsiteX87" fmla="*/ 90354 w 297656"/>
                <a:gd name="connsiteY87" fmla="*/ 108570 h 744140"/>
                <a:gd name="connsiteX88" fmla="*/ 73849 w 297656"/>
                <a:gd name="connsiteY88" fmla="*/ 83805 h 744140"/>
                <a:gd name="connsiteX89" fmla="*/ 29766 w 297656"/>
                <a:gd name="connsiteY89" fmla="*/ 129123 h 744140"/>
                <a:gd name="connsiteX90" fmla="*/ 43026 w 297656"/>
                <a:gd name="connsiteY90" fmla="*/ 104358 h 744140"/>
                <a:gd name="connsiteX91" fmla="*/ 50884 w 297656"/>
                <a:gd name="connsiteY91" fmla="*/ 99120 h 744140"/>
                <a:gd name="connsiteX92" fmla="*/ 67389 w 297656"/>
                <a:gd name="connsiteY92" fmla="*/ 123885 h 744140"/>
                <a:gd name="connsiteX93" fmla="*/ 59531 w 297656"/>
                <a:gd name="connsiteY93" fmla="*/ 129123 h 744140"/>
                <a:gd name="connsiteX94" fmla="*/ 59531 w 297656"/>
                <a:gd name="connsiteY94" fmla="*/ 193477 h 744140"/>
                <a:gd name="connsiteX95" fmla="*/ 29766 w 297656"/>
                <a:gd name="connsiteY95" fmla="*/ 193477 h 744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297656" h="744140">
                  <a:moveTo>
                    <a:pt x="0" y="637416"/>
                  </a:moveTo>
                  <a:lnTo>
                    <a:pt x="0" y="699492"/>
                  </a:lnTo>
                  <a:cubicBezTo>
                    <a:pt x="0" y="724151"/>
                    <a:pt x="19990" y="744141"/>
                    <a:pt x="44649" y="744141"/>
                  </a:cubicBezTo>
                  <a:lnTo>
                    <a:pt x="253008" y="744141"/>
                  </a:lnTo>
                  <a:cubicBezTo>
                    <a:pt x="277667" y="744141"/>
                    <a:pt x="297656" y="724151"/>
                    <a:pt x="297656" y="699492"/>
                  </a:cubicBezTo>
                  <a:lnTo>
                    <a:pt x="297656" y="637416"/>
                  </a:lnTo>
                  <a:cubicBezTo>
                    <a:pt x="297659" y="633464"/>
                    <a:pt x="296091" y="629673"/>
                    <a:pt x="293296" y="626879"/>
                  </a:cubicBezTo>
                  <a:cubicBezTo>
                    <a:pt x="275858" y="609444"/>
                    <a:pt x="275856" y="581174"/>
                    <a:pt x="293290" y="563737"/>
                  </a:cubicBezTo>
                  <a:cubicBezTo>
                    <a:pt x="293292" y="563735"/>
                    <a:pt x="293294" y="563733"/>
                    <a:pt x="293296" y="563731"/>
                  </a:cubicBezTo>
                  <a:cubicBezTo>
                    <a:pt x="296100" y="560949"/>
                    <a:pt x="297670" y="557159"/>
                    <a:pt x="297656" y="553209"/>
                  </a:cubicBezTo>
                  <a:lnTo>
                    <a:pt x="297656" y="548119"/>
                  </a:lnTo>
                  <a:cubicBezTo>
                    <a:pt x="297659" y="544167"/>
                    <a:pt x="296091" y="540376"/>
                    <a:pt x="293296" y="537582"/>
                  </a:cubicBezTo>
                  <a:cubicBezTo>
                    <a:pt x="275858" y="520147"/>
                    <a:pt x="275856" y="491877"/>
                    <a:pt x="293290" y="474440"/>
                  </a:cubicBezTo>
                  <a:cubicBezTo>
                    <a:pt x="293292" y="474438"/>
                    <a:pt x="293294" y="474436"/>
                    <a:pt x="293296" y="474434"/>
                  </a:cubicBezTo>
                  <a:cubicBezTo>
                    <a:pt x="296100" y="471652"/>
                    <a:pt x="297670" y="467862"/>
                    <a:pt x="297656" y="463912"/>
                  </a:cubicBezTo>
                  <a:lnTo>
                    <a:pt x="297656" y="458822"/>
                  </a:lnTo>
                  <a:cubicBezTo>
                    <a:pt x="297659" y="454870"/>
                    <a:pt x="296091" y="451079"/>
                    <a:pt x="293296" y="448285"/>
                  </a:cubicBezTo>
                  <a:cubicBezTo>
                    <a:pt x="275858" y="430850"/>
                    <a:pt x="275856" y="402581"/>
                    <a:pt x="293290" y="385143"/>
                  </a:cubicBezTo>
                  <a:cubicBezTo>
                    <a:pt x="293292" y="385141"/>
                    <a:pt x="293294" y="385139"/>
                    <a:pt x="293296" y="385137"/>
                  </a:cubicBezTo>
                  <a:cubicBezTo>
                    <a:pt x="296100" y="382355"/>
                    <a:pt x="297670" y="378565"/>
                    <a:pt x="297656" y="374615"/>
                  </a:cubicBezTo>
                  <a:lnTo>
                    <a:pt x="297656" y="369525"/>
                  </a:lnTo>
                  <a:cubicBezTo>
                    <a:pt x="297659" y="365573"/>
                    <a:pt x="296091" y="361782"/>
                    <a:pt x="293296" y="358988"/>
                  </a:cubicBezTo>
                  <a:cubicBezTo>
                    <a:pt x="275858" y="341553"/>
                    <a:pt x="275856" y="313284"/>
                    <a:pt x="293290" y="295846"/>
                  </a:cubicBezTo>
                  <a:cubicBezTo>
                    <a:pt x="293292" y="295844"/>
                    <a:pt x="293294" y="295842"/>
                    <a:pt x="293296" y="295841"/>
                  </a:cubicBezTo>
                  <a:cubicBezTo>
                    <a:pt x="296100" y="293059"/>
                    <a:pt x="297670" y="289268"/>
                    <a:pt x="297656" y="285318"/>
                  </a:cubicBezTo>
                  <a:lnTo>
                    <a:pt x="297656" y="280228"/>
                  </a:lnTo>
                  <a:cubicBezTo>
                    <a:pt x="297659" y="276277"/>
                    <a:pt x="296091" y="272486"/>
                    <a:pt x="293296" y="269691"/>
                  </a:cubicBezTo>
                  <a:cubicBezTo>
                    <a:pt x="275858" y="252257"/>
                    <a:pt x="275856" y="223987"/>
                    <a:pt x="293290" y="206549"/>
                  </a:cubicBezTo>
                  <a:cubicBezTo>
                    <a:pt x="293292" y="206547"/>
                    <a:pt x="293294" y="206545"/>
                    <a:pt x="293296" y="206544"/>
                  </a:cubicBezTo>
                  <a:cubicBezTo>
                    <a:pt x="296100" y="203762"/>
                    <a:pt x="297670" y="199971"/>
                    <a:pt x="297656" y="196022"/>
                  </a:cubicBezTo>
                  <a:lnTo>
                    <a:pt x="297656" y="121161"/>
                  </a:lnTo>
                  <a:cubicBezTo>
                    <a:pt x="297699" y="106206"/>
                    <a:pt x="290230" y="92229"/>
                    <a:pt x="277773" y="83954"/>
                  </a:cubicBezTo>
                  <a:lnTo>
                    <a:pt x="214982" y="42089"/>
                  </a:lnTo>
                  <a:cubicBezTo>
                    <a:pt x="210861" y="39339"/>
                    <a:pt x="208379" y="34720"/>
                    <a:pt x="208359" y="29766"/>
                  </a:cubicBezTo>
                  <a:lnTo>
                    <a:pt x="208359" y="0"/>
                  </a:lnTo>
                  <a:lnTo>
                    <a:pt x="89297" y="0"/>
                  </a:lnTo>
                  <a:lnTo>
                    <a:pt x="89297" y="29766"/>
                  </a:lnTo>
                  <a:cubicBezTo>
                    <a:pt x="89298" y="34741"/>
                    <a:pt x="86813" y="39387"/>
                    <a:pt x="82674" y="42148"/>
                  </a:cubicBezTo>
                  <a:lnTo>
                    <a:pt x="19884" y="84013"/>
                  </a:lnTo>
                  <a:cubicBezTo>
                    <a:pt x="7444" y="92277"/>
                    <a:pt x="-23" y="106227"/>
                    <a:pt x="0" y="121161"/>
                  </a:cubicBezTo>
                  <a:lnTo>
                    <a:pt x="0" y="196022"/>
                  </a:lnTo>
                  <a:cubicBezTo>
                    <a:pt x="-3" y="199974"/>
                    <a:pt x="1566" y="203764"/>
                    <a:pt x="4361" y="206559"/>
                  </a:cubicBezTo>
                  <a:cubicBezTo>
                    <a:pt x="21799" y="223993"/>
                    <a:pt x="21801" y="252263"/>
                    <a:pt x="4366" y="269701"/>
                  </a:cubicBezTo>
                  <a:cubicBezTo>
                    <a:pt x="4364" y="269703"/>
                    <a:pt x="4363" y="269705"/>
                    <a:pt x="4361" y="269706"/>
                  </a:cubicBezTo>
                  <a:cubicBezTo>
                    <a:pt x="1557" y="272488"/>
                    <a:pt x="-14" y="276279"/>
                    <a:pt x="0" y="280228"/>
                  </a:cubicBezTo>
                  <a:lnTo>
                    <a:pt x="0" y="285318"/>
                  </a:lnTo>
                  <a:cubicBezTo>
                    <a:pt x="-3" y="289270"/>
                    <a:pt x="1566" y="293061"/>
                    <a:pt x="4361" y="295855"/>
                  </a:cubicBezTo>
                  <a:cubicBezTo>
                    <a:pt x="21799" y="313290"/>
                    <a:pt x="21801" y="341560"/>
                    <a:pt x="4366" y="358998"/>
                  </a:cubicBezTo>
                  <a:cubicBezTo>
                    <a:pt x="4364" y="359000"/>
                    <a:pt x="4363" y="359001"/>
                    <a:pt x="4361" y="359003"/>
                  </a:cubicBezTo>
                  <a:cubicBezTo>
                    <a:pt x="1557" y="361785"/>
                    <a:pt x="-14" y="365576"/>
                    <a:pt x="0" y="369525"/>
                  </a:cubicBezTo>
                  <a:lnTo>
                    <a:pt x="0" y="374615"/>
                  </a:lnTo>
                  <a:cubicBezTo>
                    <a:pt x="-3" y="378567"/>
                    <a:pt x="1566" y="382358"/>
                    <a:pt x="4361" y="385152"/>
                  </a:cubicBezTo>
                  <a:cubicBezTo>
                    <a:pt x="21799" y="402587"/>
                    <a:pt x="21801" y="430857"/>
                    <a:pt x="4366" y="448295"/>
                  </a:cubicBezTo>
                  <a:cubicBezTo>
                    <a:pt x="4364" y="448297"/>
                    <a:pt x="4363" y="448298"/>
                    <a:pt x="4361" y="448300"/>
                  </a:cubicBezTo>
                  <a:cubicBezTo>
                    <a:pt x="1557" y="451082"/>
                    <a:pt x="-14" y="454872"/>
                    <a:pt x="0" y="458822"/>
                  </a:cubicBezTo>
                  <a:lnTo>
                    <a:pt x="0" y="463912"/>
                  </a:lnTo>
                  <a:cubicBezTo>
                    <a:pt x="-3" y="467864"/>
                    <a:pt x="1566" y="471655"/>
                    <a:pt x="4361" y="474449"/>
                  </a:cubicBezTo>
                  <a:cubicBezTo>
                    <a:pt x="21799" y="491884"/>
                    <a:pt x="21801" y="520154"/>
                    <a:pt x="4366" y="537592"/>
                  </a:cubicBezTo>
                  <a:cubicBezTo>
                    <a:pt x="4364" y="537593"/>
                    <a:pt x="4363" y="537595"/>
                    <a:pt x="4361" y="537597"/>
                  </a:cubicBezTo>
                  <a:cubicBezTo>
                    <a:pt x="1557" y="540379"/>
                    <a:pt x="-14" y="544169"/>
                    <a:pt x="0" y="548119"/>
                  </a:cubicBezTo>
                  <a:lnTo>
                    <a:pt x="0" y="553209"/>
                  </a:lnTo>
                  <a:cubicBezTo>
                    <a:pt x="-3" y="557161"/>
                    <a:pt x="1566" y="560952"/>
                    <a:pt x="4361" y="563746"/>
                  </a:cubicBezTo>
                  <a:cubicBezTo>
                    <a:pt x="21799" y="581181"/>
                    <a:pt x="21801" y="609451"/>
                    <a:pt x="4366" y="626889"/>
                  </a:cubicBezTo>
                  <a:cubicBezTo>
                    <a:pt x="4364" y="626890"/>
                    <a:pt x="4363" y="626892"/>
                    <a:pt x="4361" y="626894"/>
                  </a:cubicBezTo>
                  <a:cubicBezTo>
                    <a:pt x="1557" y="629676"/>
                    <a:pt x="-14" y="633466"/>
                    <a:pt x="0" y="637416"/>
                  </a:cubicBezTo>
                  <a:close/>
                  <a:moveTo>
                    <a:pt x="253008" y="610195"/>
                  </a:moveTo>
                  <a:lnTo>
                    <a:pt x="44649" y="610195"/>
                  </a:lnTo>
                  <a:lnTo>
                    <a:pt x="44649" y="580430"/>
                  </a:lnTo>
                  <a:lnTo>
                    <a:pt x="253008" y="580430"/>
                  </a:lnTo>
                  <a:close/>
                  <a:moveTo>
                    <a:pt x="253008" y="520898"/>
                  </a:moveTo>
                  <a:lnTo>
                    <a:pt x="44649" y="520898"/>
                  </a:lnTo>
                  <a:lnTo>
                    <a:pt x="44649" y="491133"/>
                  </a:lnTo>
                  <a:lnTo>
                    <a:pt x="253008" y="491133"/>
                  </a:lnTo>
                  <a:close/>
                  <a:moveTo>
                    <a:pt x="253008" y="431602"/>
                  </a:moveTo>
                  <a:lnTo>
                    <a:pt x="44649" y="431602"/>
                  </a:lnTo>
                  <a:lnTo>
                    <a:pt x="44649" y="401836"/>
                  </a:lnTo>
                  <a:lnTo>
                    <a:pt x="253008" y="401836"/>
                  </a:lnTo>
                  <a:close/>
                  <a:moveTo>
                    <a:pt x="253008" y="342305"/>
                  </a:moveTo>
                  <a:lnTo>
                    <a:pt x="44649" y="342305"/>
                  </a:lnTo>
                  <a:lnTo>
                    <a:pt x="44649" y="312539"/>
                  </a:lnTo>
                  <a:lnTo>
                    <a:pt x="253008" y="312539"/>
                  </a:lnTo>
                  <a:close/>
                  <a:moveTo>
                    <a:pt x="253008" y="223242"/>
                  </a:moveTo>
                  <a:lnTo>
                    <a:pt x="253008" y="253008"/>
                  </a:lnTo>
                  <a:lnTo>
                    <a:pt x="44649" y="253008"/>
                  </a:lnTo>
                  <a:lnTo>
                    <a:pt x="44649" y="223242"/>
                  </a:lnTo>
                  <a:close/>
                  <a:moveTo>
                    <a:pt x="95920" y="69086"/>
                  </a:moveTo>
                  <a:lnTo>
                    <a:pt x="112440" y="93851"/>
                  </a:lnTo>
                  <a:lnTo>
                    <a:pt x="90354" y="108570"/>
                  </a:lnTo>
                  <a:lnTo>
                    <a:pt x="73849" y="83805"/>
                  </a:lnTo>
                  <a:close/>
                  <a:moveTo>
                    <a:pt x="29766" y="129123"/>
                  </a:moveTo>
                  <a:cubicBezTo>
                    <a:pt x="29749" y="119166"/>
                    <a:pt x="34729" y="109864"/>
                    <a:pt x="43026" y="104358"/>
                  </a:cubicBezTo>
                  <a:lnTo>
                    <a:pt x="50884" y="99120"/>
                  </a:lnTo>
                  <a:lnTo>
                    <a:pt x="67389" y="123885"/>
                  </a:lnTo>
                  <a:lnTo>
                    <a:pt x="59531" y="129123"/>
                  </a:lnTo>
                  <a:lnTo>
                    <a:pt x="59531" y="193477"/>
                  </a:lnTo>
                  <a:lnTo>
                    <a:pt x="29766" y="193477"/>
                  </a:ln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8" name="Freihandform: Form 547">
              <a:extLst>
                <a:ext uri="{FF2B5EF4-FFF2-40B4-BE49-F238E27FC236}">
                  <a16:creationId xmlns:a16="http://schemas.microsoft.com/office/drawing/2014/main" id="{6A12BE61-AEF6-4BDD-A4FE-F32599871176}"/>
                </a:ext>
              </a:extLst>
            </p:cNvPr>
            <p:cNvSpPr/>
            <p:nvPr/>
          </p:nvSpPr>
          <p:spPr>
            <a:xfrm>
              <a:off x="9954643" y="5855250"/>
              <a:ext cx="297656" cy="89297"/>
            </a:xfrm>
            <a:custGeom>
              <a:avLst/>
              <a:gdLst>
                <a:gd name="connsiteX0" fmla="*/ 297656 w 297656"/>
                <a:gd name="connsiteY0" fmla="*/ 44648 h 89296"/>
                <a:gd name="connsiteX1" fmla="*/ 148828 w 297656"/>
                <a:gd name="connsiteY1" fmla="*/ 89297 h 89296"/>
                <a:gd name="connsiteX2" fmla="*/ 0 w 297656"/>
                <a:gd name="connsiteY2" fmla="*/ 44648 h 89296"/>
                <a:gd name="connsiteX3" fmla="*/ 148828 w 297656"/>
                <a:gd name="connsiteY3" fmla="*/ 0 h 89296"/>
                <a:gd name="connsiteX4" fmla="*/ 297656 w 297656"/>
                <a:gd name="connsiteY4" fmla="*/ 44648 h 89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7656" h="89296">
                  <a:moveTo>
                    <a:pt x="297656" y="44648"/>
                  </a:moveTo>
                  <a:cubicBezTo>
                    <a:pt x="297656" y="69307"/>
                    <a:pt x="231024" y="89297"/>
                    <a:pt x="148828" y="89297"/>
                  </a:cubicBezTo>
                  <a:cubicBezTo>
                    <a:pt x="66633" y="89297"/>
                    <a:pt x="0" y="69307"/>
                    <a:pt x="0" y="44648"/>
                  </a:cubicBezTo>
                  <a:cubicBezTo>
                    <a:pt x="0" y="19990"/>
                    <a:pt x="66633" y="0"/>
                    <a:pt x="148828" y="0"/>
                  </a:cubicBezTo>
                  <a:cubicBezTo>
                    <a:pt x="231024" y="0"/>
                    <a:pt x="297656" y="19990"/>
                    <a:pt x="297656" y="44648"/>
                  </a:cubicBez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9" name="Freihandform: Form 548">
              <a:extLst>
                <a:ext uri="{FF2B5EF4-FFF2-40B4-BE49-F238E27FC236}">
                  <a16:creationId xmlns:a16="http://schemas.microsoft.com/office/drawing/2014/main" id="{562978F5-D79E-4BF6-838A-3E91EC05E9BF}"/>
                </a:ext>
              </a:extLst>
            </p:cNvPr>
            <p:cNvSpPr/>
            <p:nvPr/>
          </p:nvSpPr>
          <p:spPr>
            <a:xfrm>
              <a:off x="9508158" y="5527828"/>
              <a:ext cx="119063" cy="59531"/>
            </a:xfrm>
            <a:custGeom>
              <a:avLst/>
              <a:gdLst>
                <a:gd name="connsiteX0" fmla="*/ 0 w 119062"/>
                <a:gd name="connsiteY0" fmla="*/ 14883 h 59531"/>
                <a:gd name="connsiteX1" fmla="*/ 0 w 119062"/>
                <a:gd name="connsiteY1" fmla="*/ 59531 h 59531"/>
                <a:gd name="connsiteX2" fmla="*/ 119063 w 119062"/>
                <a:gd name="connsiteY2" fmla="*/ 59531 h 59531"/>
                <a:gd name="connsiteX3" fmla="*/ 119063 w 119062"/>
                <a:gd name="connsiteY3" fmla="*/ 14883 h 59531"/>
                <a:gd name="connsiteX4" fmla="*/ 104180 w 119062"/>
                <a:gd name="connsiteY4" fmla="*/ 0 h 59531"/>
                <a:gd name="connsiteX5" fmla="*/ 14883 w 119062"/>
                <a:gd name="connsiteY5" fmla="*/ 0 h 59531"/>
                <a:gd name="connsiteX6" fmla="*/ 0 w 119062"/>
                <a:gd name="connsiteY6" fmla="*/ 14883 h 59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9062" h="59531">
                  <a:moveTo>
                    <a:pt x="0" y="14883"/>
                  </a:moveTo>
                  <a:lnTo>
                    <a:pt x="0" y="59531"/>
                  </a:lnTo>
                  <a:lnTo>
                    <a:pt x="119063" y="59531"/>
                  </a:lnTo>
                  <a:lnTo>
                    <a:pt x="119063" y="14883"/>
                  </a:lnTo>
                  <a:cubicBezTo>
                    <a:pt x="119063" y="6663"/>
                    <a:pt x="112399" y="0"/>
                    <a:pt x="104180" y="0"/>
                  </a:cubicBezTo>
                  <a:lnTo>
                    <a:pt x="14883" y="0"/>
                  </a:lnTo>
                  <a:cubicBezTo>
                    <a:pt x="6663" y="0"/>
                    <a:pt x="0" y="6663"/>
                    <a:pt x="0" y="14883"/>
                  </a:cubicBez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0" name="Freihandform: Form 549">
              <a:extLst>
                <a:ext uri="{FF2B5EF4-FFF2-40B4-BE49-F238E27FC236}">
                  <a16:creationId xmlns:a16="http://schemas.microsoft.com/office/drawing/2014/main" id="{08533250-5363-4BBC-B788-7131656BE66E}"/>
                </a:ext>
              </a:extLst>
            </p:cNvPr>
            <p:cNvSpPr/>
            <p:nvPr/>
          </p:nvSpPr>
          <p:spPr>
            <a:xfrm>
              <a:off x="9979780" y="6301735"/>
              <a:ext cx="238125" cy="59531"/>
            </a:xfrm>
            <a:custGeom>
              <a:avLst/>
              <a:gdLst>
                <a:gd name="connsiteX0" fmla="*/ 198105 w 238125"/>
                <a:gd name="connsiteY0" fmla="*/ 59531 h 59531"/>
                <a:gd name="connsiteX1" fmla="*/ 243661 w 238125"/>
                <a:gd name="connsiteY1" fmla="*/ 59531 h 59531"/>
                <a:gd name="connsiteX2" fmla="*/ 247382 w 238125"/>
                <a:gd name="connsiteY2" fmla="*/ 0 h 59531"/>
                <a:gd name="connsiteX3" fmla="*/ 0 w 238125"/>
                <a:gd name="connsiteY3" fmla="*/ 0 h 59531"/>
                <a:gd name="connsiteX4" fmla="*/ 3721 w 238125"/>
                <a:gd name="connsiteY4" fmla="*/ 59531 h 59531"/>
                <a:gd name="connsiteX5" fmla="*/ 198105 w 238125"/>
                <a:gd name="connsiteY5" fmla="*/ 59531 h 59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8125" h="59531">
                  <a:moveTo>
                    <a:pt x="198105" y="59531"/>
                  </a:moveTo>
                  <a:lnTo>
                    <a:pt x="243661" y="59531"/>
                  </a:lnTo>
                  <a:lnTo>
                    <a:pt x="247382" y="0"/>
                  </a:lnTo>
                  <a:lnTo>
                    <a:pt x="0" y="0"/>
                  </a:lnTo>
                  <a:lnTo>
                    <a:pt x="3721" y="59531"/>
                  </a:lnTo>
                  <a:lnTo>
                    <a:pt x="198105" y="59531"/>
                  </a:ln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1" name="Freihandform: Form 550">
              <a:extLst>
                <a:ext uri="{FF2B5EF4-FFF2-40B4-BE49-F238E27FC236}">
                  <a16:creationId xmlns:a16="http://schemas.microsoft.com/office/drawing/2014/main" id="{E566304D-3B55-4D63-BC63-7F187BFF23D9}"/>
                </a:ext>
              </a:extLst>
            </p:cNvPr>
            <p:cNvSpPr/>
            <p:nvPr/>
          </p:nvSpPr>
          <p:spPr>
            <a:xfrm>
              <a:off x="9968573" y="6123141"/>
              <a:ext cx="267891" cy="29766"/>
            </a:xfrm>
            <a:custGeom>
              <a:avLst/>
              <a:gdLst>
                <a:gd name="connsiteX0" fmla="*/ 269781 w 267890"/>
                <a:gd name="connsiteY0" fmla="*/ 0 h 29765"/>
                <a:gd name="connsiteX1" fmla="*/ 0 w 267890"/>
                <a:gd name="connsiteY1" fmla="*/ 0 h 29765"/>
                <a:gd name="connsiteX2" fmla="*/ 1860 w 267890"/>
                <a:gd name="connsiteY2" fmla="*/ 29766 h 29765"/>
                <a:gd name="connsiteX3" fmla="*/ 267920 w 267890"/>
                <a:gd name="connsiteY3" fmla="*/ 29766 h 29765"/>
                <a:gd name="connsiteX4" fmla="*/ 269781 w 267890"/>
                <a:gd name="connsiteY4" fmla="*/ 0 h 29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890" h="29765">
                  <a:moveTo>
                    <a:pt x="269781" y="0"/>
                  </a:moveTo>
                  <a:lnTo>
                    <a:pt x="0" y="0"/>
                  </a:lnTo>
                  <a:lnTo>
                    <a:pt x="1860" y="29766"/>
                  </a:lnTo>
                  <a:lnTo>
                    <a:pt x="267920" y="29766"/>
                  </a:lnTo>
                  <a:lnTo>
                    <a:pt x="269781" y="0"/>
                  </a:ln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2" name="Freihandform: Form 551">
              <a:extLst>
                <a:ext uri="{FF2B5EF4-FFF2-40B4-BE49-F238E27FC236}">
                  <a16:creationId xmlns:a16="http://schemas.microsoft.com/office/drawing/2014/main" id="{01C82A08-0153-4087-9E8E-8D62D8C7E685}"/>
                </a:ext>
              </a:extLst>
            </p:cNvPr>
            <p:cNvSpPr/>
            <p:nvPr/>
          </p:nvSpPr>
          <p:spPr>
            <a:xfrm>
              <a:off x="9964837" y="6063610"/>
              <a:ext cx="267891" cy="29766"/>
            </a:xfrm>
            <a:custGeom>
              <a:avLst/>
              <a:gdLst>
                <a:gd name="connsiteX0" fmla="*/ 277252 w 267890"/>
                <a:gd name="connsiteY0" fmla="*/ 0 h 29765"/>
                <a:gd name="connsiteX1" fmla="*/ 0 w 267890"/>
                <a:gd name="connsiteY1" fmla="*/ 0 h 29765"/>
                <a:gd name="connsiteX2" fmla="*/ 1875 w 267890"/>
                <a:gd name="connsiteY2" fmla="*/ 29766 h 29765"/>
                <a:gd name="connsiteX3" fmla="*/ 275377 w 267890"/>
                <a:gd name="connsiteY3" fmla="*/ 29766 h 29765"/>
                <a:gd name="connsiteX4" fmla="*/ 277252 w 267890"/>
                <a:gd name="connsiteY4" fmla="*/ 0 h 29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890" h="29765">
                  <a:moveTo>
                    <a:pt x="277252" y="0"/>
                  </a:moveTo>
                  <a:lnTo>
                    <a:pt x="0" y="0"/>
                  </a:lnTo>
                  <a:lnTo>
                    <a:pt x="1875" y="29766"/>
                  </a:lnTo>
                  <a:lnTo>
                    <a:pt x="275377" y="29766"/>
                  </a:lnTo>
                  <a:lnTo>
                    <a:pt x="277252" y="0"/>
                  </a:ln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3" name="Freihandform: Form 552">
              <a:extLst>
                <a:ext uri="{FF2B5EF4-FFF2-40B4-BE49-F238E27FC236}">
                  <a16:creationId xmlns:a16="http://schemas.microsoft.com/office/drawing/2014/main" id="{BC971C94-6B18-433B-A2F7-8E2A29E4C8EB}"/>
                </a:ext>
              </a:extLst>
            </p:cNvPr>
            <p:cNvSpPr/>
            <p:nvPr/>
          </p:nvSpPr>
          <p:spPr>
            <a:xfrm>
              <a:off x="9957366" y="5944547"/>
              <a:ext cx="282773" cy="89297"/>
            </a:xfrm>
            <a:custGeom>
              <a:avLst/>
              <a:gdLst>
                <a:gd name="connsiteX0" fmla="*/ 292179 w 282773"/>
                <a:gd name="connsiteY0" fmla="*/ 0 h 89296"/>
                <a:gd name="connsiteX1" fmla="*/ 146105 w 282773"/>
                <a:gd name="connsiteY1" fmla="*/ 29766 h 89296"/>
                <a:gd name="connsiteX2" fmla="*/ 0 w 282773"/>
                <a:gd name="connsiteY2" fmla="*/ 0 h 89296"/>
                <a:gd name="connsiteX3" fmla="*/ 5611 w 282773"/>
                <a:gd name="connsiteY3" fmla="*/ 89297 h 89296"/>
                <a:gd name="connsiteX4" fmla="*/ 286583 w 282773"/>
                <a:gd name="connsiteY4" fmla="*/ 89297 h 89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2773" h="89296">
                  <a:moveTo>
                    <a:pt x="292179" y="0"/>
                  </a:moveTo>
                  <a:cubicBezTo>
                    <a:pt x="258113" y="19645"/>
                    <a:pt x="201915" y="29766"/>
                    <a:pt x="146105" y="29766"/>
                  </a:cubicBezTo>
                  <a:cubicBezTo>
                    <a:pt x="90294" y="29766"/>
                    <a:pt x="34067" y="19645"/>
                    <a:pt x="0" y="0"/>
                  </a:cubicBezTo>
                  <a:lnTo>
                    <a:pt x="5611" y="89297"/>
                  </a:lnTo>
                  <a:lnTo>
                    <a:pt x="286583" y="89297"/>
                  </a:ln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4" name="Freihandform: Form 553">
              <a:extLst>
                <a:ext uri="{FF2B5EF4-FFF2-40B4-BE49-F238E27FC236}">
                  <a16:creationId xmlns:a16="http://schemas.microsoft.com/office/drawing/2014/main" id="{00BE6341-1BDA-4480-8382-27AD6A0E2D2A}"/>
                </a:ext>
              </a:extLst>
            </p:cNvPr>
            <p:cNvSpPr/>
            <p:nvPr/>
          </p:nvSpPr>
          <p:spPr>
            <a:xfrm>
              <a:off x="9976044" y="6242203"/>
              <a:ext cx="253008" cy="29766"/>
            </a:xfrm>
            <a:custGeom>
              <a:avLst/>
              <a:gdLst>
                <a:gd name="connsiteX0" fmla="*/ 254853 w 253007"/>
                <a:gd name="connsiteY0" fmla="*/ 0 h 29765"/>
                <a:gd name="connsiteX1" fmla="*/ 0 w 253007"/>
                <a:gd name="connsiteY1" fmla="*/ 0 h 29765"/>
                <a:gd name="connsiteX2" fmla="*/ 1860 w 253007"/>
                <a:gd name="connsiteY2" fmla="*/ 29766 h 29765"/>
                <a:gd name="connsiteX3" fmla="*/ 252978 w 253007"/>
                <a:gd name="connsiteY3" fmla="*/ 29766 h 29765"/>
                <a:gd name="connsiteX4" fmla="*/ 254853 w 253007"/>
                <a:gd name="connsiteY4" fmla="*/ 0 h 29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007" h="29765">
                  <a:moveTo>
                    <a:pt x="254853" y="0"/>
                  </a:moveTo>
                  <a:lnTo>
                    <a:pt x="0" y="0"/>
                  </a:lnTo>
                  <a:lnTo>
                    <a:pt x="1860" y="29766"/>
                  </a:lnTo>
                  <a:lnTo>
                    <a:pt x="252978" y="29766"/>
                  </a:lnTo>
                  <a:lnTo>
                    <a:pt x="254853" y="0"/>
                  </a:ln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5" name="Freihandform: Form 554">
              <a:extLst>
                <a:ext uri="{FF2B5EF4-FFF2-40B4-BE49-F238E27FC236}">
                  <a16:creationId xmlns:a16="http://schemas.microsoft.com/office/drawing/2014/main" id="{3278FDF4-94F7-4432-8FE8-42677A4FD209}"/>
                </a:ext>
              </a:extLst>
            </p:cNvPr>
            <p:cNvSpPr/>
            <p:nvPr/>
          </p:nvSpPr>
          <p:spPr>
            <a:xfrm>
              <a:off x="9972308" y="6182672"/>
              <a:ext cx="253008" cy="29766"/>
            </a:xfrm>
            <a:custGeom>
              <a:avLst/>
              <a:gdLst>
                <a:gd name="connsiteX0" fmla="*/ 262310 w 253007"/>
                <a:gd name="connsiteY0" fmla="*/ 0 h 29765"/>
                <a:gd name="connsiteX1" fmla="*/ 0 w 253007"/>
                <a:gd name="connsiteY1" fmla="*/ 0 h 29765"/>
                <a:gd name="connsiteX2" fmla="*/ 1860 w 253007"/>
                <a:gd name="connsiteY2" fmla="*/ 29766 h 29765"/>
                <a:gd name="connsiteX3" fmla="*/ 260449 w 253007"/>
                <a:gd name="connsiteY3" fmla="*/ 29766 h 29765"/>
                <a:gd name="connsiteX4" fmla="*/ 262310 w 253007"/>
                <a:gd name="connsiteY4" fmla="*/ 0 h 29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3007" h="29765">
                  <a:moveTo>
                    <a:pt x="262310" y="0"/>
                  </a:moveTo>
                  <a:lnTo>
                    <a:pt x="0" y="0"/>
                  </a:lnTo>
                  <a:lnTo>
                    <a:pt x="1860" y="29766"/>
                  </a:lnTo>
                  <a:lnTo>
                    <a:pt x="260449" y="29766"/>
                  </a:lnTo>
                  <a:lnTo>
                    <a:pt x="262310" y="0"/>
                  </a:ln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57" name="Group 11">
            <a:extLst>
              <a:ext uri="{FF2B5EF4-FFF2-40B4-BE49-F238E27FC236}">
                <a16:creationId xmlns:a16="http://schemas.microsoft.com/office/drawing/2014/main" id="{CC46315D-D18A-429B-AC96-75D9B95B4E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491015" y="4060660"/>
            <a:ext cx="684329" cy="282840"/>
            <a:chOff x="278" y="1445"/>
            <a:chExt cx="571" cy="236"/>
          </a:xfrm>
          <a:solidFill>
            <a:schemeClr val="bg1"/>
          </a:solidFill>
        </p:grpSpPr>
        <p:sp>
          <p:nvSpPr>
            <p:cNvPr id="559" name="Oval 12">
              <a:extLst>
                <a:ext uri="{FF2B5EF4-FFF2-40B4-BE49-F238E27FC236}">
                  <a16:creationId xmlns:a16="http://schemas.microsoft.com/office/drawing/2014/main" id="{DF84A582-D443-4135-BA93-AE76A2789C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" y="1589"/>
              <a:ext cx="92" cy="9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0" name="Oval 13">
              <a:extLst>
                <a:ext uri="{FF2B5EF4-FFF2-40B4-BE49-F238E27FC236}">
                  <a16:creationId xmlns:a16="http://schemas.microsoft.com/office/drawing/2014/main" id="{ABBAEDA3-CCC4-4414-A6B5-2D6E25CFE7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1" y="1589"/>
              <a:ext cx="92" cy="9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1" name="Freeform 14">
              <a:extLst>
                <a:ext uri="{FF2B5EF4-FFF2-40B4-BE49-F238E27FC236}">
                  <a16:creationId xmlns:a16="http://schemas.microsoft.com/office/drawing/2014/main" id="{E7DA9DEE-A566-4A29-85B0-BE5F4DD3B1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" y="1445"/>
              <a:ext cx="571" cy="198"/>
            </a:xfrm>
            <a:custGeom>
              <a:avLst/>
              <a:gdLst>
                <a:gd name="T0" fmla="*/ 303 w 321"/>
                <a:gd name="T1" fmla="*/ 62 h 110"/>
                <a:gd name="T2" fmla="*/ 229 w 321"/>
                <a:gd name="T3" fmla="*/ 33 h 110"/>
                <a:gd name="T4" fmla="*/ 139 w 321"/>
                <a:gd name="T5" fmla="*/ 0 h 110"/>
                <a:gd name="T6" fmla="*/ 39 w 321"/>
                <a:gd name="T7" fmla="*/ 20 h 110"/>
                <a:gd name="T8" fmla="*/ 8 w 321"/>
                <a:gd name="T9" fmla="*/ 33 h 110"/>
                <a:gd name="T10" fmla="*/ 1 w 321"/>
                <a:gd name="T11" fmla="*/ 70 h 110"/>
                <a:gd name="T12" fmla="*/ 25 w 321"/>
                <a:gd name="T13" fmla="*/ 104 h 110"/>
                <a:gd name="T14" fmla="*/ 27 w 321"/>
                <a:gd name="T15" fmla="*/ 103 h 110"/>
                <a:gd name="T16" fmla="*/ 59 w 321"/>
                <a:gd name="T17" fmla="*/ 73 h 110"/>
                <a:gd name="T18" fmla="*/ 91 w 321"/>
                <a:gd name="T19" fmla="*/ 106 h 110"/>
                <a:gd name="T20" fmla="*/ 91 w 321"/>
                <a:gd name="T21" fmla="*/ 107 h 110"/>
                <a:gd name="T22" fmla="*/ 93 w 321"/>
                <a:gd name="T23" fmla="*/ 109 h 110"/>
                <a:gd name="T24" fmla="*/ 190 w 321"/>
                <a:gd name="T25" fmla="*/ 110 h 110"/>
                <a:gd name="T26" fmla="*/ 192 w 321"/>
                <a:gd name="T27" fmla="*/ 108 h 110"/>
                <a:gd name="T28" fmla="*/ 192 w 321"/>
                <a:gd name="T29" fmla="*/ 106 h 110"/>
                <a:gd name="T30" fmla="*/ 224 w 321"/>
                <a:gd name="T31" fmla="*/ 73 h 110"/>
                <a:gd name="T32" fmla="*/ 256 w 321"/>
                <a:gd name="T33" fmla="*/ 104 h 110"/>
                <a:gd name="T34" fmla="*/ 258 w 321"/>
                <a:gd name="T35" fmla="*/ 106 h 110"/>
                <a:gd name="T36" fmla="*/ 300 w 321"/>
                <a:gd name="T37" fmla="*/ 106 h 110"/>
                <a:gd name="T38" fmla="*/ 317 w 321"/>
                <a:gd name="T39" fmla="*/ 91 h 110"/>
                <a:gd name="T40" fmla="*/ 303 w 321"/>
                <a:gd name="T41" fmla="*/ 62 h 110"/>
                <a:gd name="T42" fmla="*/ 45 w 321"/>
                <a:gd name="T43" fmla="*/ 47 h 110"/>
                <a:gd name="T44" fmla="*/ 116 w 321"/>
                <a:gd name="T45" fmla="*/ 13 h 110"/>
                <a:gd name="T46" fmla="*/ 129 w 321"/>
                <a:gd name="T47" fmla="*/ 13 h 110"/>
                <a:gd name="T48" fmla="*/ 129 w 321"/>
                <a:gd name="T49" fmla="*/ 47 h 110"/>
                <a:gd name="T50" fmla="*/ 45 w 321"/>
                <a:gd name="T51" fmla="*/ 47 h 110"/>
                <a:gd name="T52" fmla="*/ 137 w 321"/>
                <a:gd name="T53" fmla="*/ 47 h 110"/>
                <a:gd name="T54" fmla="*/ 137 w 321"/>
                <a:gd name="T55" fmla="*/ 13 h 110"/>
                <a:gd name="T56" fmla="*/ 138 w 321"/>
                <a:gd name="T57" fmla="*/ 13 h 110"/>
                <a:gd name="T58" fmla="*/ 189 w 321"/>
                <a:gd name="T59" fmla="*/ 22 h 110"/>
                <a:gd name="T60" fmla="*/ 221 w 321"/>
                <a:gd name="T61" fmla="*/ 47 h 110"/>
                <a:gd name="T62" fmla="*/ 137 w 321"/>
                <a:gd name="T63" fmla="*/ 47 h 110"/>
                <a:gd name="T64" fmla="*/ 309 w 321"/>
                <a:gd name="T65" fmla="*/ 83 h 110"/>
                <a:gd name="T66" fmla="*/ 301 w 321"/>
                <a:gd name="T67" fmla="*/ 85 h 110"/>
                <a:gd name="T68" fmla="*/ 284 w 321"/>
                <a:gd name="T69" fmla="*/ 72 h 110"/>
                <a:gd name="T70" fmla="*/ 305 w 321"/>
                <a:gd name="T71" fmla="*/ 74 h 110"/>
                <a:gd name="T72" fmla="*/ 309 w 321"/>
                <a:gd name="T73" fmla="*/ 8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1" h="110">
                  <a:moveTo>
                    <a:pt x="303" y="62"/>
                  </a:moveTo>
                  <a:cubicBezTo>
                    <a:pt x="282" y="55"/>
                    <a:pt x="250" y="45"/>
                    <a:pt x="229" y="33"/>
                  </a:cubicBezTo>
                  <a:cubicBezTo>
                    <a:pt x="208" y="21"/>
                    <a:pt x="198" y="0"/>
                    <a:pt x="139" y="0"/>
                  </a:cubicBezTo>
                  <a:cubicBezTo>
                    <a:pt x="80" y="0"/>
                    <a:pt x="56" y="10"/>
                    <a:pt x="39" y="20"/>
                  </a:cubicBezTo>
                  <a:cubicBezTo>
                    <a:pt x="26" y="28"/>
                    <a:pt x="17" y="31"/>
                    <a:pt x="8" y="33"/>
                  </a:cubicBezTo>
                  <a:cubicBezTo>
                    <a:pt x="0" y="35"/>
                    <a:pt x="0" y="51"/>
                    <a:pt x="1" y="70"/>
                  </a:cubicBezTo>
                  <a:cubicBezTo>
                    <a:pt x="1" y="87"/>
                    <a:pt x="5" y="97"/>
                    <a:pt x="25" y="104"/>
                  </a:cubicBezTo>
                  <a:cubicBezTo>
                    <a:pt x="25" y="104"/>
                    <a:pt x="27" y="104"/>
                    <a:pt x="27" y="103"/>
                  </a:cubicBezTo>
                  <a:cubicBezTo>
                    <a:pt x="29" y="86"/>
                    <a:pt x="42" y="73"/>
                    <a:pt x="59" y="73"/>
                  </a:cubicBezTo>
                  <a:cubicBezTo>
                    <a:pt x="77" y="73"/>
                    <a:pt x="91" y="88"/>
                    <a:pt x="91" y="106"/>
                  </a:cubicBezTo>
                  <a:cubicBezTo>
                    <a:pt x="91" y="106"/>
                    <a:pt x="91" y="107"/>
                    <a:pt x="91" y="107"/>
                  </a:cubicBezTo>
                  <a:cubicBezTo>
                    <a:pt x="91" y="107"/>
                    <a:pt x="91" y="109"/>
                    <a:pt x="93" y="109"/>
                  </a:cubicBezTo>
                  <a:cubicBezTo>
                    <a:pt x="190" y="110"/>
                    <a:pt x="190" y="110"/>
                    <a:pt x="190" y="110"/>
                  </a:cubicBezTo>
                  <a:cubicBezTo>
                    <a:pt x="192" y="110"/>
                    <a:pt x="192" y="108"/>
                    <a:pt x="192" y="108"/>
                  </a:cubicBezTo>
                  <a:cubicBezTo>
                    <a:pt x="192" y="107"/>
                    <a:pt x="192" y="107"/>
                    <a:pt x="192" y="106"/>
                  </a:cubicBezTo>
                  <a:cubicBezTo>
                    <a:pt x="192" y="88"/>
                    <a:pt x="206" y="73"/>
                    <a:pt x="224" y="73"/>
                  </a:cubicBezTo>
                  <a:cubicBezTo>
                    <a:pt x="241" y="73"/>
                    <a:pt x="255" y="87"/>
                    <a:pt x="256" y="104"/>
                  </a:cubicBezTo>
                  <a:cubicBezTo>
                    <a:pt x="256" y="104"/>
                    <a:pt x="256" y="106"/>
                    <a:pt x="258" y="106"/>
                  </a:cubicBezTo>
                  <a:cubicBezTo>
                    <a:pt x="300" y="106"/>
                    <a:pt x="300" y="106"/>
                    <a:pt x="300" y="106"/>
                  </a:cubicBezTo>
                  <a:cubicBezTo>
                    <a:pt x="300" y="106"/>
                    <a:pt x="314" y="107"/>
                    <a:pt x="317" y="91"/>
                  </a:cubicBezTo>
                  <a:cubicBezTo>
                    <a:pt x="320" y="77"/>
                    <a:pt x="321" y="69"/>
                    <a:pt x="303" y="62"/>
                  </a:cubicBezTo>
                  <a:close/>
                  <a:moveTo>
                    <a:pt x="45" y="47"/>
                  </a:moveTo>
                  <a:cubicBezTo>
                    <a:pt x="68" y="15"/>
                    <a:pt x="116" y="13"/>
                    <a:pt x="116" y="13"/>
                  </a:cubicBezTo>
                  <a:cubicBezTo>
                    <a:pt x="129" y="13"/>
                    <a:pt x="129" y="13"/>
                    <a:pt x="129" y="13"/>
                  </a:cubicBezTo>
                  <a:cubicBezTo>
                    <a:pt x="129" y="47"/>
                    <a:pt x="129" y="47"/>
                    <a:pt x="129" y="47"/>
                  </a:cubicBezTo>
                  <a:lnTo>
                    <a:pt x="45" y="47"/>
                  </a:lnTo>
                  <a:close/>
                  <a:moveTo>
                    <a:pt x="137" y="47"/>
                  </a:moveTo>
                  <a:cubicBezTo>
                    <a:pt x="137" y="13"/>
                    <a:pt x="137" y="13"/>
                    <a:pt x="137" y="13"/>
                  </a:cubicBezTo>
                  <a:cubicBezTo>
                    <a:pt x="138" y="13"/>
                    <a:pt x="138" y="13"/>
                    <a:pt x="138" y="13"/>
                  </a:cubicBezTo>
                  <a:cubicBezTo>
                    <a:pt x="178" y="13"/>
                    <a:pt x="189" y="22"/>
                    <a:pt x="189" y="22"/>
                  </a:cubicBezTo>
                  <a:cubicBezTo>
                    <a:pt x="221" y="47"/>
                    <a:pt x="221" y="47"/>
                    <a:pt x="221" y="47"/>
                  </a:cubicBezTo>
                  <a:lnTo>
                    <a:pt x="137" y="47"/>
                  </a:lnTo>
                  <a:close/>
                  <a:moveTo>
                    <a:pt x="309" y="83"/>
                  </a:moveTo>
                  <a:cubicBezTo>
                    <a:pt x="309" y="86"/>
                    <a:pt x="305" y="85"/>
                    <a:pt x="301" y="85"/>
                  </a:cubicBezTo>
                  <a:cubicBezTo>
                    <a:pt x="301" y="85"/>
                    <a:pt x="279" y="82"/>
                    <a:pt x="284" y="72"/>
                  </a:cubicBezTo>
                  <a:cubicBezTo>
                    <a:pt x="288" y="62"/>
                    <a:pt x="300" y="71"/>
                    <a:pt x="305" y="74"/>
                  </a:cubicBezTo>
                  <a:cubicBezTo>
                    <a:pt x="309" y="77"/>
                    <a:pt x="310" y="79"/>
                    <a:pt x="309" y="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" name="Group 4">
            <a:extLst>
              <a:ext uri="{FF2B5EF4-FFF2-40B4-BE49-F238E27FC236}">
                <a16:creationId xmlns:a16="http://schemas.microsoft.com/office/drawing/2014/main" id="{AA4BB673-F31E-43A7-8C9E-62469792618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08842" y="5289472"/>
            <a:ext cx="760050" cy="407646"/>
            <a:chOff x="3817" y="3577"/>
            <a:chExt cx="399" cy="214"/>
          </a:xfrm>
        </p:grpSpPr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9816097E-7580-4707-B4A0-FC2B5883D5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6" y="3685"/>
              <a:ext cx="50" cy="13"/>
            </a:xfrm>
            <a:prstGeom prst="rect">
              <a:avLst/>
            </a:prstGeom>
            <a:solidFill>
              <a:srgbClr val="21A0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24DC4B02-4E55-4E2F-AD6F-B77280FB6D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5" y="3667"/>
              <a:ext cx="13" cy="17"/>
            </a:xfrm>
            <a:prstGeom prst="rect">
              <a:avLst/>
            </a:prstGeom>
            <a:solidFill>
              <a:srgbClr val="21A0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E667CB36-B8E0-4B95-A238-0106486786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94" y="3667"/>
              <a:ext cx="13" cy="17"/>
            </a:xfrm>
            <a:prstGeom prst="rect">
              <a:avLst/>
            </a:prstGeom>
            <a:solidFill>
              <a:srgbClr val="21A0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FB66F053-4CF3-401C-B34F-C2731FCDB1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7" y="3579"/>
              <a:ext cx="399" cy="212"/>
            </a:xfrm>
            <a:custGeom>
              <a:avLst/>
              <a:gdLst>
                <a:gd name="T0" fmla="*/ 384 w 399"/>
                <a:gd name="T1" fmla="*/ 115 h 212"/>
                <a:gd name="T2" fmla="*/ 318 w 399"/>
                <a:gd name="T3" fmla="*/ 97 h 212"/>
                <a:gd name="T4" fmla="*/ 278 w 399"/>
                <a:gd name="T5" fmla="*/ 115 h 212"/>
                <a:gd name="T6" fmla="*/ 278 w 399"/>
                <a:gd name="T7" fmla="*/ 12 h 212"/>
                <a:gd name="T8" fmla="*/ 259 w 399"/>
                <a:gd name="T9" fmla="*/ 12 h 212"/>
                <a:gd name="T10" fmla="*/ 253 w 399"/>
                <a:gd name="T11" fmla="*/ 115 h 212"/>
                <a:gd name="T12" fmla="*/ 230 w 399"/>
                <a:gd name="T13" fmla="*/ 172 h 212"/>
                <a:gd name="T14" fmla="*/ 230 w 399"/>
                <a:gd name="T15" fmla="*/ 118 h 212"/>
                <a:gd name="T16" fmla="*/ 230 w 399"/>
                <a:gd name="T17" fmla="*/ 112 h 212"/>
                <a:gd name="T18" fmla="*/ 230 w 399"/>
                <a:gd name="T19" fmla="*/ 94 h 212"/>
                <a:gd name="T20" fmla="*/ 230 w 399"/>
                <a:gd name="T21" fmla="*/ 86 h 212"/>
                <a:gd name="T22" fmla="*/ 207 w 399"/>
                <a:gd name="T23" fmla="*/ 86 h 212"/>
                <a:gd name="T24" fmla="*/ 193 w 399"/>
                <a:gd name="T25" fmla="*/ 86 h 212"/>
                <a:gd name="T26" fmla="*/ 171 w 399"/>
                <a:gd name="T27" fmla="*/ 86 h 212"/>
                <a:gd name="T28" fmla="*/ 156 w 399"/>
                <a:gd name="T29" fmla="*/ 86 h 212"/>
                <a:gd name="T30" fmla="*/ 134 w 399"/>
                <a:gd name="T31" fmla="*/ 86 h 212"/>
                <a:gd name="T32" fmla="*/ 123 w 399"/>
                <a:gd name="T33" fmla="*/ 86 h 212"/>
                <a:gd name="T34" fmla="*/ 123 w 399"/>
                <a:gd name="T35" fmla="*/ 94 h 212"/>
                <a:gd name="T36" fmla="*/ 123 w 399"/>
                <a:gd name="T37" fmla="*/ 112 h 212"/>
                <a:gd name="T38" fmla="*/ 123 w 399"/>
                <a:gd name="T39" fmla="*/ 118 h 212"/>
                <a:gd name="T40" fmla="*/ 105 w 399"/>
                <a:gd name="T41" fmla="*/ 172 h 212"/>
                <a:gd name="T42" fmla="*/ 14 w 399"/>
                <a:gd name="T43" fmla="*/ 172 h 212"/>
                <a:gd name="T44" fmla="*/ 399 w 399"/>
                <a:gd name="T45" fmla="*/ 212 h 212"/>
                <a:gd name="T46" fmla="*/ 93 w 399"/>
                <a:gd name="T47" fmla="*/ 132 h 212"/>
                <a:gd name="T48" fmla="*/ 55 w 399"/>
                <a:gd name="T49" fmla="*/ 132 h 212"/>
                <a:gd name="T50" fmla="*/ 55 w 399"/>
                <a:gd name="T51" fmla="*/ 132 h 212"/>
                <a:gd name="T52" fmla="*/ 278 w 399"/>
                <a:gd name="T53" fmla="*/ 175 h 212"/>
                <a:gd name="T54" fmla="*/ 316 w 399"/>
                <a:gd name="T55" fmla="*/ 175 h 212"/>
                <a:gd name="T56" fmla="*/ 328 w 399"/>
                <a:gd name="T57" fmla="*/ 163 h 212"/>
                <a:gd name="T58" fmla="*/ 367 w 399"/>
                <a:gd name="T59" fmla="*/ 175 h 212"/>
                <a:gd name="T60" fmla="*/ 354 w 399"/>
                <a:gd name="T61" fmla="*/ 125 h 212"/>
                <a:gd name="T62" fmla="*/ 346 w 399"/>
                <a:gd name="T63" fmla="*/ 137 h 212"/>
                <a:gd name="T64" fmla="*/ 328 w 399"/>
                <a:gd name="T65" fmla="*/ 137 h 212"/>
                <a:gd name="T66" fmla="*/ 303 w 399"/>
                <a:gd name="T67" fmla="*/ 125 h 212"/>
                <a:gd name="T68" fmla="*/ 290 w 399"/>
                <a:gd name="T69" fmla="*/ 125 h 212"/>
                <a:gd name="T70" fmla="*/ 266 w 399"/>
                <a:gd name="T71" fmla="*/ 125 h 212"/>
                <a:gd name="T72" fmla="*/ 174 w 399"/>
                <a:gd name="T73" fmla="*/ 122 h 212"/>
                <a:gd name="T74" fmla="*/ 171 w 399"/>
                <a:gd name="T75" fmla="*/ 118 h 212"/>
                <a:gd name="T76" fmla="*/ 171 w 399"/>
                <a:gd name="T77" fmla="*/ 118 h 212"/>
                <a:gd name="T78" fmla="*/ 193 w 399"/>
                <a:gd name="T79" fmla="*/ 118 h 212"/>
                <a:gd name="T80" fmla="*/ 203 w 399"/>
                <a:gd name="T81" fmla="*/ 98 h 212"/>
                <a:gd name="T82" fmla="*/ 171 w 399"/>
                <a:gd name="T83" fmla="*/ 112 h 212"/>
                <a:gd name="T84" fmla="*/ 166 w 399"/>
                <a:gd name="T85" fmla="*/ 112 h 212"/>
                <a:gd name="T86" fmla="*/ 166 w 399"/>
                <a:gd name="T87" fmla="*/ 112 h 212"/>
                <a:gd name="T88" fmla="*/ 156 w 399"/>
                <a:gd name="T89" fmla="*/ 115 h 212"/>
                <a:gd name="T90" fmla="*/ 156 w 399"/>
                <a:gd name="T91" fmla="*/ 172 h 212"/>
                <a:gd name="T92" fmla="*/ 203 w 399"/>
                <a:gd name="T93" fmla="*/ 122 h 212"/>
                <a:gd name="T94" fmla="*/ 210 w 399"/>
                <a:gd name="T95" fmla="*/ 172 h 212"/>
                <a:gd name="T96" fmla="*/ 210 w 399"/>
                <a:gd name="T97" fmla="*/ 172 h 212"/>
                <a:gd name="T98" fmla="*/ 210 w 399"/>
                <a:gd name="T99" fmla="*/ 115 h 212"/>
                <a:gd name="T100" fmla="*/ 207 w 399"/>
                <a:gd name="T101" fmla="*/ 98 h 212"/>
                <a:gd name="T102" fmla="*/ 210 w 399"/>
                <a:gd name="T103" fmla="*/ 94 h 212"/>
                <a:gd name="T104" fmla="*/ 203 w 399"/>
                <a:gd name="T105" fmla="*/ 90 h 212"/>
                <a:gd name="T106" fmla="*/ 203 w 399"/>
                <a:gd name="T107" fmla="*/ 90 h 212"/>
                <a:gd name="T108" fmla="*/ 171 w 399"/>
                <a:gd name="T109" fmla="*/ 90 h 212"/>
                <a:gd name="T110" fmla="*/ 156 w 399"/>
                <a:gd name="T111" fmla="*/ 94 h 212"/>
                <a:gd name="T112" fmla="*/ 137 w 399"/>
                <a:gd name="T113" fmla="*/ 90 h 212"/>
                <a:gd name="T114" fmla="*/ 134 w 399"/>
                <a:gd name="T115" fmla="*/ 98 h 212"/>
                <a:gd name="T116" fmla="*/ 134 w 399"/>
                <a:gd name="T117" fmla="*/ 98 h 212"/>
                <a:gd name="T118" fmla="*/ 134 w 399"/>
                <a:gd name="T119" fmla="*/ 118 h 212"/>
                <a:gd name="T120" fmla="*/ 137 w 399"/>
                <a:gd name="T121" fmla="*/ 17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9" h="212">
                  <a:moveTo>
                    <a:pt x="384" y="199"/>
                  </a:moveTo>
                  <a:lnTo>
                    <a:pt x="384" y="163"/>
                  </a:lnTo>
                  <a:lnTo>
                    <a:pt x="384" y="153"/>
                  </a:lnTo>
                  <a:lnTo>
                    <a:pt x="384" y="115"/>
                  </a:lnTo>
                  <a:lnTo>
                    <a:pt x="384" y="115"/>
                  </a:lnTo>
                  <a:lnTo>
                    <a:pt x="351" y="97"/>
                  </a:lnTo>
                  <a:lnTo>
                    <a:pt x="351" y="115"/>
                  </a:lnTo>
                  <a:lnTo>
                    <a:pt x="318" y="97"/>
                  </a:lnTo>
                  <a:lnTo>
                    <a:pt x="318" y="115"/>
                  </a:lnTo>
                  <a:lnTo>
                    <a:pt x="285" y="97"/>
                  </a:lnTo>
                  <a:lnTo>
                    <a:pt x="285" y="115"/>
                  </a:lnTo>
                  <a:lnTo>
                    <a:pt x="278" y="115"/>
                  </a:lnTo>
                  <a:lnTo>
                    <a:pt x="278" y="18"/>
                  </a:lnTo>
                  <a:lnTo>
                    <a:pt x="282" y="18"/>
                  </a:lnTo>
                  <a:lnTo>
                    <a:pt x="282" y="12"/>
                  </a:lnTo>
                  <a:lnTo>
                    <a:pt x="278" y="12"/>
                  </a:lnTo>
                  <a:lnTo>
                    <a:pt x="278" y="0"/>
                  </a:lnTo>
                  <a:lnTo>
                    <a:pt x="263" y="0"/>
                  </a:lnTo>
                  <a:lnTo>
                    <a:pt x="263" y="12"/>
                  </a:lnTo>
                  <a:lnTo>
                    <a:pt x="259" y="12"/>
                  </a:lnTo>
                  <a:lnTo>
                    <a:pt x="259" y="18"/>
                  </a:lnTo>
                  <a:lnTo>
                    <a:pt x="263" y="18"/>
                  </a:lnTo>
                  <a:lnTo>
                    <a:pt x="263" y="115"/>
                  </a:lnTo>
                  <a:lnTo>
                    <a:pt x="253" y="115"/>
                  </a:lnTo>
                  <a:lnTo>
                    <a:pt x="253" y="153"/>
                  </a:lnTo>
                  <a:lnTo>
                    <a:pt x="253" y="163"/>
                  </a:lnTo>
                  <a:lnTo>
                    <a:pt x="253" y="172"/>
                  </a:lnTo>
                  <a:lnTo>
                    <a:pt x="230" y="172"/>
                  </a:lnTo>
                  <a:lnTo>
                    <a:pt x="230" y="122"/>
                  </a:lnTo>
                  <a:lnTo>
                    <a:pt x="236" y="122"/>
                  </a:lnTo>
                  <a:lnTo>
                    <a:pt x="236" y="118"/>
                  </a:lnTo>
                  <a:lnTo>
                    <a:pt x="230" y="118"/>
                  </a:lnTo>
                  <a:lnTo>
                    <a:pt x="230" y="115"/>
                  </a:lnTo>
                  <a:lnTo>
                    <a:pt x="236" y="115"/>
                  </a:lnTo>
                  <a:lnTo>
                    <a:pt x="236" y="112"/>
                  </a:lnTo>
                  <a:lnTo>
                    <a:pt x="230" y="112"/>
                  </a:lnTo>
                  <a:lnTo>
                    <a:pt x="230" y="98"/>
                  </a:lnTo>
                  <a:lnTo>
                    <a:pt x="236" y="98"/>
                  </a:lnTo>
                  <a:lnTo>
                    <a:pt x="236" y="94"/>
                  </a:lnTo>
                  <a:lnTo>
                    <a:pt x="230" y="94"/>
                  </a:lnTo>
                  <a:lnTo>
                    <a:pt x="230" y="90"/>
                  </a:lnTo>
                  <a:lnTo>
                    <a:pt x="236" y="90"/>
                  </a:lnTo>
                  <a:lnTo>
                    <a:pt x="236" y="86"/>
                  </a:lnTo>
                  <a:lnTo>
                    <a:pt x="230" y="86"/>
                  </a:lnTo>
                  <a:lnTo>
                    <a:pt x="230" y="19"/>
                  </a:lnTo>
                  <a:lnTo>
                    <a:pt x="210" y="19"/>
                  </a:lnTo>
                  <a:lnTo>
                    <a:pt x="210" y="86"/>
                  </a:lnTo>
                  <a:lnTo>
                    <a:pt x="207" y="86"/>
                  </a:lnTo>
                  <a:lnTo>
                    <a:pt x="207" y="19"/>
                  </a:lnTo>
                  <a:lnTo>
                    <a:pt x="203" y="19"/>
                  </a:lnTo>
                  <a:lnTo>
                    <a:pt x="203" y="86"/>
                  </a:lnTo>
                  <a:lnTo>
                    <a:pt x="193" y="86"/>
                  </a:lnTo>
                  <a:lnTo>
                    <a:pt x="193" y="19"/>
                  </a:lnTo>
                  <a:lnTo>
                    <a:pt x="174" y="19"/>
                  </a:lnTo>
                  <a:lnTo>
                    <a:pt x="174" y="86"/>
                  </a:lnTo>
                  <a:lnTo>
                    <a:pt x="171" y="86"/>
                  </a:lnTo>
                  <a:lnTo>
                    <a:pt x="171" y="19"/>
                  </a:lnTo>
                  <a:lnTo>
                    <a:pt x="166" y="19"/>
                  </a:lnTo>
                  <a:lnTo>
                    <a:pt x="166" y="86"/>
                  </a:lnTo>
                  <a:lnTo>
                    <a:pt x="156" y="86"/>
                  </a:lnTo>
                  <a:lnTo>
                    <a:pt x="156" y="19"/>
                  </a:lnTo>
                  <a:lnTo>
                    <a:pt x="137" y="19"/>
                  </a:lnTo>
                  <a:lnTo>
                    <a:pt x="137" y="86"/>
                  </a:lnTo>
                  <a:lnTo>
                    <a:pt x="134" y="86"/>
                  </a:lnTo>
                  <a:lnTo>
                    <a:pt x="134" y="19"/>
                  </a:lnTo>
                  <a:lnTo>
                    <a:pt x="130" y="19"/>
                  </a:lnTo>
                  <a:lnTo>
                    <a:pt x="130" y="86"/>
                  </a:lnTo>
                  <a:lnTo>
                    <a:pt x="123" y="86"/>
                  </a:lnTo>
                  <a:lnTo>
                    <a:pt x="123" y="90"/>
                  </a:lnTo>
                  <a:lnTo>
                    <a:pt x="130" y="90"/>
                  </a:lnTo>
                  <a:lnTo>
                    <a:pt x="130" y="94"/>
                  </a:lnTo>
                  <a:lnTo>
                    <a:pt x="123" y="94"/>
                  </a:lnTo>
                  <a:lnTo>
                    <a:pt x="123" y="98"/>
                  </a:lnTo>
                  <a:lnTo>
                    <a:pt x="130" y="98"/>
                  </a:lnTo>
                  <a:lnTo>
                    <a:pt x="130" y="112"/>
                  </a:lnTo>
                  <a:lnTo>
                    <a:pt x="123" y="112"/>
                  </a:lnTo>
                  <a:lnTo>
                    <a:pt x="123" y="115"/>
                  </a:lnTo>
                  <a:lnTo>
                    <a:pt x="130" y="115"/>
                  </a:lnTo>
                  <a:lnTo>
                    <a:pt x="130" y="118"/>
                  </a:lnTo>
                  <a:lnTo>
                    <a:pt x="123" y="118"/>
                  </a:lnTo>
                  <a:lnTo>
                    <a:pt x="123" y="122"/>
                  </a:lnTo>
                  <a:lnTo>
                    <a:pt x="130" y="122"/>
                  </a:lnTo>
                  <a:lnTo>
                    <a:pt x="130" y="172"/>
                  </a:lnTo>
                  <a:lnTo>
                    <a:pt x="105" y="172"/>
                  </a:lnTo>
                  <a:lnTo>
                    <a:pt x="105" y="123"/>
                  </a:lnTo>
                  <a:lnTo>
                    <a:pt x="43" y="123"/>
                  </a:lnTo>
                  <a:lnTo>
                    <a:pt x="43" y="172"/>
                  </a:lnTo>
                  <a:lnTo>
                    <a:pt x="14" y="172"/>
                  </a:lnTo>
                  <a:lnTo>
                    <a:pt x="14" y="199"/>
                  </a:lnTo>
                  <a:lnTo>
                    <a:pt x="0" y="199"/>
                  </a:lnTo>
                  <a:lnTo>
                    <a:pt x="0" y="212"/>
                  </a:lnTo>
                  <a:lnTo>
                    <a:pt x="399" y="212"/>
                  </a:lnTo>
                  <a:lnTo>
                    <a:pt x="399" y="199"/>
                  </a:lnTo>
                  <a:lnTo>
                    <a:pt x="384" y="199"/>
                  </a:lnTo>
                  <a:close/>
                  <a:moveTo>
                    <a:pt x="80" y="132"/>
                  </a:moveTo>
                  <a:lnTo>
                    <a:pt x="93" y="132"/>
                  </a:lnTo>
                  <a:lnTo>
                    <a:pt x="93" y="160"/>
                  </a:lnTo>
                  <a:lnTo>
                    <a:pt x="80" y="160"/>
                  </a:lnTo>
                  <a:lnTo>
                    <a:pt x="80" y="132"/>
                  </a:lnTo>
                  <a:close/>
                  <a:moveTo>
                    <a:pt x="55" y="132"/>
                  </a:moveTo>
                  <a:lnTo>
                    <a:pt x="68" y="132"/>
                  </a:lnTo>
                  <a:lnTo>
                    <a:pt x="68" y="160"/>
                  </a:lnTo>
                  <a:lnTo>
                    <a:pt x="55" y="160"/>
                  </a:lnTo>
                  <a:lnTo>
                    <a:pt x="55" y="132"/>
                  </a:lnTo>
                  <a:close/>
                  <a:moveTo>
                    <a:pt x="266" y="163"/>
                  </a:moveTo>
                  <a:lnTo>
                    <a:pt x="290" y="163"/>
                  </a:lnTo>
                  <a:lnTo>
                    <a:pt x="290" y="175"/>
                  </a:lnTo>
                  <a:lnTo>
                    <a:pt x="278" y="175"/>
                  </a:lnTo>
                  <a:lnTo>
                    <a:pt x="266" y="175"/>
                  </a:lnTo>
                  <a:lnTo>
                    <a:pt x="266" y="163"/>
                  </a:lnTo>
                  <a:close/>
                  <a:moveTo>
                    <a:pt x="328" y="175"/>
                  </a:moveTo>
                  <a:lnTo>
                    <a:pt x="316" y="175"/>
                  </a:lnTo>
                  <a:lnTo>
                    <a:pt x="316" y="175"/>
                  </a:lnTo>
                  <a:lnTo>
                    <a:pt x="303" y="175"/>
                  </a:lnTo>
                  <a:lnTo>
                    <a:pt x="303" y="163"/>
                  </a:lnTo>
                  <a:lnTo>
                    <a:pt x="328" y="163"/>
                  </a:lnTo>
                  <a:lnTo>
                    <a:pt x="328" y="175"/>
                  </a:lnTo>
                  <a:close/>
                  <a:moveTo>
                    <a:pt x="346" y="163"/>
                  </a:moveTo>
                  <a:lnTo>
                    <a:pt x="367" y="163"/>
                  </a:lnTo>
                  <a:lnTo>
                    <a:pt x="367" y="175"/>
                  </a:lnTo>
                  <a:lnTo>
                    <a:pt x="354" y="175"/>
                  </a:lnTo>
                  <a:lnTo>
                    <a:pt x="346" y="175"/>
                  </a:lnTo>
                  <a:lnTo>
                    <a:pt x="346" y="163"/>
                  </a:lnTo>
                  <a:close/>
                  <a:moveTo>
                    <a:pt x="354" y="125"/>
                  </a:moveTo>
                  <a:lnTo>
                    <a:pt x="367" y="125"/>
                  </a:lnTo>
                  <a:lnTo>
                    <a:pt x="367" y="137"/>
                  </a:lnTo>
                  <a:lnTo>
                    <a:pt x="354" y="137"/>
                  </a:lnTo>
                  <a:lnTo>
                    <a:pt x="346" y="137"/>
                  </a:lnTo>
                  <a:lnTo>
                    <a:pt x="346" y="125"/>
                  </a:lnTo>
                  <a:lnTo>
                    <a:pt x="354" y="125"/>
                  </a:lnTo>
                  <a:close/>
                  <a:moveTo>
                    <a:pt x="328" y="125"/>
                  </a:moveTo>
                  <a:lnTo>
                    <a:pt x="328" y="137"/>
                  </a:lnTo>
                  <a:lnTo>
                    <a:pt x="316" y="137"/>
                  </a:lnTo>
                  <a:lnTo>
                    <a:pt x="316" y="137"/>
                  </a:lnTo>
                  <a:lnTo>
                    <a:pt x="303" y="137"/>
                  </a:lnTo>
                  <a:lnTo>
                    <a:pt x="303" y="125"/>
                  </a:lnTo>
                  <a:lnTo>
                    <a:pt x="316" y="125"/>
                  </a:lnTo>
                  <a:lnTo>
                    <a:pt x="316" y="125"/>
                  </a:lnTo>
                  <a:lnTo>
                    <a:pt x="328" y="125"/>
                  </a:lnTo>
                  <a:close/>
                  <a:moveTo>
                    <a:pt x="290" y="125"/>
                  </a:moveTo>
                  <a:lnTo>
                    <a:pt x="290" y="137"/>
                  </a:lnTo>
                  <a:lnTo>
                    <a:pt x="278" y="137"/>
                  </a:lnTo>
                  <a:lnTo>
                    <a:pt x="266" y="137"/>
                  </a:lnTo>
                  <a:lnTo>
                    <a:pt x="266" y="125"/>
                  </a:lnTo>
                  <a:lnTo>
                    <a:pt x="278" y="125"/>
                  </a:lnTo>
                  <a:lnTo>
                    <a:pt x="290" y="125"/>
                  </a:lnTo>
                  <a:close/>
                  <a:moveTo>
                    <a:pt x="171" y="122"/>
                  </a:moveTo>
                  <a:lnTo>
                    <a:pt x="174" y="122"/>
                  </a:lnTo>
                  <a:lnTo>
                    <a:pt x="174" y="172"/>
                  </a:lnTo>
                  <a:lnTo>
                    <a:pt x="171" y="172"/>
                  </a:lnTo>
                  <a:lnTo>
                    <a:pt x="171" y="122"/>
                  </a:lnTo>
                  <a:close/>
                  <a:moveTo>
                    <a:pt x="171" y="118"/>
                  </a:moveTo>
                  <a:lnTo>
                    <a:pt x="171" y="115"/>
                  </a:lnTo>
                  <a:lnTo>
                    <a:pt x="174" y="115"/>
                  </a:lnTo>
                  <a:lnTo>
                    <a:pt x="174" y="118"/>
                  </a:lnTo>
                  <a:lnTo>
                    <a:pt x="171" y="118"/>
                  </a:lnTo>
                  <a:close/>
                  <a:moveTo>
                    <a:pt x="193" y="115"/>
                  </a:moveTo>
                  <a:lnTo>
                    <a:pt x="203" y="115"/>
                  </a:lnTo>
                  <a:lnTo>
                    <a:pt x="203" y="118"/>
                  </a:lnTo>
                  <a:lnTo>
                    <a:pt x="193" y="118"/>
                  </a:lnTo>
                  <a:lnTo>
                    <a:pt x="193" y="115"/>
                  </a:lnTo>
                  <a:close/>
                  <a:moveTo>
                    <a:pt x="193" y="112"/>
                  </a:moveTo>
                  <a:lnTo>
                    <a:pt x="193" y="98"/>
                  </a:lnTo>
                  <a:lnTo>
                    <a:pt x="203" y="98"/>
                  </a:lnTo>
                  <a:lnTo>
                    <a:pt x="203" y="112"/>
                  </a:lnTo>
                  <a:lnTo>
                    <a:pt x="193" y="112"/>
                  </a:lnTo>
                  <a:close/>
                  <a:moveTo>
                    <a:pt x="174" y="112"/>
                  </a:moveTo>
                  <a:lnTo>
                    <a:pt x="171" y="112"/>
                  </a:lnTo>
                  <a:lnTo>
                    <a:pt x="171" y="98"/>
                  </a:lnTo>
                  <a:lnTo>
                    <a:pt x="174" y="98"/>
                  </a:lnTo>
                  <a:lnTo>
                    <a:pt x="174" y="112"/>
                  </a:lnTo>
                  <a:close/>
                  <a:moveTo>
                    <a:pt x="166" y="112"/>
                  </a:moveTo>
                  <a:lnTo>
                    <a:pt x="156" y="112"/>
                  </a:lnTo>
                  <a:lnTo>
                    <a:pt x="156" y="98"/>
                  </a:lnTo>
                  <a:lnTo>
                    <a:pt x="166" y="98"/>
                  </a:lnTo>
                  <a:lnTo>
                    <a:pt x="166" y="112"/>
                  </a:lnTo>
                  <a:close/>
                  <a:moveTo>
                    <a:pt x="166" y="115"/>
                  </a:moveTo>
                  <a:lnTo>
                    <a:pt x="166" y="118"/>
                  </a:lnTo>
                  <a:lnTo>
                    <a:pt x="156" y="118"/>
                  </a:lnTo>
                  <a:lnTo>
                    <a:pt x="156" y="115"/>
                  </a:lnTo>
                  <a:lnTo>
                    <a:pt x="166" y="115"/>
                  </a:lnTo>
                  <a:close/>
                  <a:moveTo>
                    <a:pt x="166" y="122"/>
                  </a:moveTo>
                  <a:lnTo>
                    <a:pt x="166" y="172"/>
                  </a:lnTo>
                  <a:lnTo>
                    <a:pt x="156" y="172"/>
                  </a:lnTo>
                  <a:lnTo>
                    <a:pt x="156" y="122"/>
                  </a:lnTo>
                  <a:lnTo>
                    <a:pt x="166" y="122"/>
                  </a:lnTo>
                  <a:close/>
                  <a:moveTo>
                    <a:pt x="193" y="122"/>
                  </a:moveTo>
                  <a:lnTo>
                    <a:pt x="203" y="122"/>
                  </a:lnTo>
                  <a:lnTo>
                    <a:pt x="203" y="172"/>
                  </a:lnTo>
                  <a:lnTo>
                    <a:pt x="193" y="172"/>
                  </a:lnTo>
                  <a:lnTo>
                    <a:pt x="193" y="122"/>
                  </a:lnTo>
                  <a:close/>
                  <a:moveTo>
                    <a:pt x="210" y="172"/>
                  </a:moveTo>
                  <a:lnTo>
                    <a:pt x="207" y="172"/>
                  </a:lnTo>
                  <a:lnTo>
                    <a:pt x="207" y="122"/>
                  </a:lnTo>
                  <a:lnTo>
                    <a:pt x="210" y="122"/>
                  </a:lnTo>
                  <a:lnTo>
                    <a:pt x="210" y="172"/>
                  </a:lnTo>
                  <a:close/>
                  <a:moveTo>
                    <a:pt x="210" y="118"/>
                  </a:moveTo>
                  <a:lnTo>
                    <a:pt x="207" y="118"/>
                  </a:lnTo>
                  <a:lnTo>
                    <a:pt x="207" y="115"/>
                  </a:lnTo>
                  <a:lnTo>
                    <a:pt x="210" y="115"/>
                  </a:lnTo>
                  <a:lnTo>
                    <a:pt x="210" y="118"/>
                  </a:lnTo>
                  <a:close/>
                  <a:moveTo>
                    <a:pt x="210" y="112"/>
                  </a:moveTo>
                  <a:lnTo>
                    <a:pt x="207" y="112"/>
                  </a:lnTo>
                  <a:lnTo>
                    <a:pt x="207" y="98"/>
                  </a:lnTo>
                  <a:lnTo>
                    <a:pt x="210" y="98"/>
                  </a:lnTo>
                  <a:lnTo>
                    <a:pt x="210" y="112"/>
                  </a:lnTo>
                  <a:close/>
                  <a:moveTo>
                    <a:pt x="210" y="90"/>
                  </a:moveTo>
                  <a:lnTo>
                    <a:pt x="210" y="94"/>
                  </a:lnTo>
                  <a:lnTo>
                    <a:pt x="207" y="94"/>
                  </a:lnTo>
                  <a:lnTo>
                    <a:pt x="207" y="90"/>
                  </a:lnTo>
                  <a:lnTo>
                    <a:pt x="210" y="90"/>
                  </a:lnTo>
                  <a:close/>
                  <a:moveTo>
                    <a:pt x="203" y="90"/>
                  </a:moveTo>
                  <a:lnTo>
                    <a:pt x="203" y="94"/>
                  </a:lnTo>
                  <a:lnTo>
                    <a:pt x="193" y="94"/>
                  </a:lnTo>
                  <a:lnTo>
                    <a:pt x="193" y="90"/>
                  </a:lnTo>
                  <a:lnTo>
                    <a:pt x="203" y="90"/>
                  </a:lnTo>
                  <a:close/>
                  <a:moveTo>
                    <a:pt x="174" y="90"/>
                  </a:moveTo>
                  <a:lnTo>
                    <a:pt x="174" y="94"/>
                  </a:lnTo>
                  <a:lnTo>
                    <a:pt x="171" y="94"/>
                  </a:lnTo>
                  <a:lnTo>
                    <a:pt x="171" y="90"/>
                  </a:lnTo>
                  <a:lnTo>
                    <a:pt x="174" y="90"/>
                  </a:lnTo>
                  <a:close/>
                  <a:moveTo>
                    <a:pt x="166" y="90"/>
                  </a:moveTo>
                  <a:lnTo>
                    <a:pt x="166" y="94"/>
                  </a:lnTo>
                  <a:lnTo>
                    <a:pt x="156" y="94"/>
                  </a:lnTo>
                  <a:lnTo>
                    <a:pt x="156" y="90"/>
                  </a:lnTo>
                  <a:lnTo>
                    <a:pt x="166" y="90"/>
                  </a:lnTo>
                  <a:close/>
                  <a:moveTo>
                    <a:pt x="134" y="90"/>
                  </a:moveTo>
                  <a:lnTo>
                    <a:pt x="137" y="90"/>
                  </a:lnTo>
                  <a:lnTo>
                    <a:pt x="137" y="94"/>
                  </a:lnTo>
                  <a:lnTo>
                    <a:pt x="134" y="94"/>
                  </a:lnTo>
                  <a:lnTo>
                    <a:pt x="134" y="90"/>
                  </a:lnTo>
                  <a:close/>
                  <a:moveTo>
                    <a:pt x="134" y="98"/>
                  </a:moveTo>
                  <a:lnTo>
                    <a:pt x="137" y="98"/>
                  </a:lnTo>
                  <a:lnTo>
                    <a:pt x="137" y="112"/>
                  </a:lnTo>
                  <a:lnTo>
                    <a:pt x="134" y="112"/>
                  </a:lnTo>
                  <a:lnTo>
                    <a:pt x="134" y="98"/>
                  </a:lnTo>
                  <a:close/>
                  <a:moveTo>
                    <a:pt x="134" y="115"/>
                  </a:moveTo>
                  <a:lnTo>
                    <a:pt x="137" y="115"/>
                  </a:lnTo>
                  <a:lnTo>
                    <a:pt x="137" y="118"/>
                  </a:lnTo>
                  <a:lnTo>
                    <a:pt x="134" y="118"/>
                  </a:lnTo>
                  <a:lnTo>
                    <a:pt x="134" y="115"/>
                  </a:lnTo>
                  <a:close/>
                  <a:moveTo>
                    <a:pt x="134" y="122"/>
                  </a:moveTo>
                  <a:lnTo>
                    <a:pt x="137" y="122"/>
                  </a:lnTo>
                  <a:lnTo>
                    <a:pt x="137" y="172"/>
                  </a:lnTo>
                  <a:lnTo>
                    <a:pt x="134" y="172"/>
                  </a:lnTo>
                  <a:lnTo>
                    <a:pt x="134" y="1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44897B35-A4AB-4C87-B6F7-F9AB5D1574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" y="3577"/>
              <a:ext cx="26" cy="16"/>
            </a:xfrm>
            <a:custGeom>
              <a:avLst/>
              <a:gdLst>
                <a:gd name="T0" fmla="*/ 526 w 3680"/>
                <a:gd name="T1" fmla="*/ 1676 h 2304"/>
                <a:gd name="T2" fmla="*/ 736 w 3680"/>
                <a:gd name="T3" fmla="*/ 1362 h 2304"/>
                <a:gd name="T4" fmla="*/ 947 w 3680"/>
                <a:gd name="T5" fmla="*/ 1676 h 2304"/>
                <a:gd name="T6" fmla="*/ 947 w 3680"/>
                <a:gd name="T7" fmla="*/ 2304 h 2304"/>
                <a:gd name="T8" fmla="*/ 3680 w 3680"/>
                <a:gd name="T9" fmla="*/ 2304 h 2304"/>
                <a:gd name="T10" fmla="*/ 3680 w 3680"/>
                <a:gd name="T11" fmla="*/ 1362 h 2304"/>
                <a:gd name="T12" fmla="*/ 1788 w 3680"/>
                <a:gd name="T13" fmla="*/ 0 h 2304"/>
                <a:gd name="T14" fmla="*/ 0 w 3680"/>
                <a:gd name="T15" fmla="*/ 1362 h 2304"/>
                <a:gd name="T16" fmla="*/ 0 w 3680"/>
                <a:gd name="T17" fmla="*/ 2304 h 2304"/>
                <a:gd name="T18" fmla="*/ 526 w 3680"/>
                <a:gd name="T19" fmla="*/ 2304 h 2304"/>
                <a:gd name="T20" fmla="*/ 526 w 3680"/>
                <a:gd name="T21" fmla="*/ 1676 h 2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80" h="2304">
                  <a:moveTo>
                    <a:pt x="526" y="1676"/>
                  </a:moveTo>
                  <a:cubicBezTo>
                    <a:pt x="526" y="1571"/>
                    <a:pt x="631" y="1362"/>
                    <a:pt x="736" y="1362"/>
                  </a:cubicBezTo>
                  <a:cubicBezTo>
                    <a:pt x="842" y="1362"/>
                    <a:pt x="947" y="1571"/>
                    <a:pt x="947" y="1676"/>
                  </a:cubicBezTo>
                  <a:cubicBezTo>
                    <a:pt x="947" y="2304"/>
                    <a:pt x="947" y="2304"/>
                    <a:pt x="947" y="2304"/>
                  </a:cubicBezTo>
                  <a:cubicBezTo>
                    <a:pt x="3680" y="2304"/>
                    <a:pt x="3680" y="2304"/>
                    <a:pt x="3680" y="2304"/>
                  </a:cubicBezTo>
                  <a:cubicBezTo>
                    <a:pt x="3680" y="1362"/>
                    <a:pt x="3680" y="1362"/>
                    <a:pt x="3680" y="1362"/>
                  </a:cubicBezTo>
                  <a:cubicBezTo>
                    <a:pt x="3680" y="629"/>
                    <a:pt x="2839" y="0"/>
                    <a:pt x="1788" y="0"/>
                  </a:cubicBezTo>
                  <a:cubicBezTo>
                    <a:pt x="842" y="0"/>
                    <a:pt x="0" y="629"/>
                    <a:pt x="0" y="1362"/>
                  </a:cubicBezTo>
                  <a:cubicBezTo>
                    <a:pt x="0" y="2304"/>
                    <a:pt x="0" y="2304"/>
                    <a:pt x="0" y="2304"/>
                  </a:cubicBezTo>
                  <a:cubicBezTo>
                    <a:pt x="526" y="2304"/>
                    <a:pt x="526" y="2304"/>
                    <a:pt x="526" y="2304"/>
                  </a:cubicBezTo>
                  <a:lnTo>
                    <a:pt x="526" y="1676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D03ED826-26F9-4863-97B3-09367564E1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3" y="3577"/>
              <a:ext cx="27" cy="16"/>
            </a:xfrm>
            <a:custGeom>
              <a:avLst/>
              <a:gdLst>
                <a:gd name="T0" fmla="*/ 627 w 3760"/>
                <a:gd name="T1" fmla="*/ 1676 h 2304"/>
                <a:gd name="T2" fmla="*/ 836 w 3760"/>
                <a:gd name="T3" fmla="*/ 1362 h 2304"/>
                <a:gd name="T4" fmla="*/ 1045 w 3760"/>
                <a:gd name="T5" fmla="*/ 1676 h 2304"/>
                <a:gd name="T6" fmla="*/ 1045 w 3760"/>
                <a:gd name="T7" fmla="*/ 2304 h 2304"/>
                <a:gd name="T8" fmla="*/ 3760 w 3760"/>
                <a:gd name="T9" fmla="*/ 2304 h 2304"/>
                <a:gd name="T10" fmla="*/ 3760 w 3760"/>
                <a:gd name="T11" fmla="*/ 1362 h 2304"/>
                <a:gd name="T12" fmla="*/ 1880 w 3760"/>
                <a:gd name="T13" fmla="*/ 0 h 2304"/>
                <a:gd name="T14" fmla="*/ 0 w 3760"/>
                <a:gd name="T15" fmla="*/ 1362 h 2304"/>
                <a:gd name="T16" fmla="*/ 0 w 3760"/>
                <a:gd name="T17" fmla="*/ 2304 h 2304"/>
                <a:gd name="T18" fmla="*/ 627 w 3760"/>
                <a:gd name="T19" fmla="*/ 2304 h 2304"/>
                <a:gd name="T20" fmla="*/ 627 w 3760"/>
                <a:gd name="T21" fmla="*/ 1676 h 2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60" h="2304">
                  <a:moveTo>
                    <a:pt x="627" y="1676"/>
                  </a:moveTo>
                  <a:cubicBezTo>
                    <a:pt x="627" y="1571"/>
                    <a:pt x="732" y="1362"/>
                    <a:pt x="836" y="1362"/>
                  </a:cubicBezTo>
                  <a:cubicBezTo>
                    <a:pt x="940" y="1362"/>
                    <a:pt x="1045" y="1571"/>
                    <a:pt x="1045" y="1676"/>
                  </a:cubicBezTo>
                  <a:cubicBezTo>
                    <a:pt x="1045" y="2304"/>
                    <a:pt x="1045" y="2304"/>
                    <a:pt x="1045" y="2304"/>
                  </a:cubicBezTo>
                  <a:cubicBezTo>
                    <a:pt x="3760" y="2304"/>
                    <a:pt x="3760" y="2304"/>
                    <a:pt x="3760" y="2304"/>
                  </a:cubicBezTo>
                  <a:cubicBezTo>
                    <a:pt x="3760" y="1362"/>
                    <a:pt x="3760" y="1362"/>
                    <a:pt x="3760" y="1362"/>
                  </a:cubicBezTo>
                  <a:cubicBezTo>
                    <a:pt x="3760" y="629"/>
                    <a:pt x="2925" y="0"/>
                    <a:pt x="1880" y="0"/>
                  </a:cubicBezTo>
                  <a:cubicBezTo>
                    <a:pt x="836" y="0"/>
                    <a:pt x="0" y="629"/>
                    <a:pt x="0" y="1362"/>
                  </a:cubicBezTo>
                  <a:cubicBezTo>
                    <a:pt x="0" y="2304"/>
                    <a:pt x="0" y="2304"/>
                    <a:pt x="0" y="2304"/>
                  </a:cubicBezTo>
                  <a:cubicBezTo>
                    <a:pt x="627" y="2304"/>
                    <a:pt x="627" y="2304"/>
                    <a:pt x="627" y="2304"/>
                  </a:cubicBezTo>
                  <a:lnTo>
                    <a:pt x="627" y="1676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ABAEC8E8-5A04-4010-8364-47D950E27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0" y="3577"/>
              <a:ext cx="27" cy="16"/>
            </a:xfrm>
            <a:custGeom>
              <a:avLst/>
              <a:gdLst>
                <a:gd name="T0" fmla="*/ 635 w 3808"/>
                <a:gd name="T1" fmla="*/ 1676 h 2304"/>
                <a:gd name="T2" fmla="*/ 847 w 3808"/>
                <a:gd name="T3" fmla="*/ 1362 h 2304"/>
                <a:gd name="T4" fmla="*/ 952 w 3808"/>
                <a:gd name="T5" fmla="*/ 1676 h 2304"/>
                <a:gd name="T6" fmla="*/ 952 w 3808"/>
                <a:gd name="T7" fmla="*/ 2304 h 2304"/>
                <a:gd name="T8" fmla="*/ 3808 w 3808"/>
                <a:gd name="T9" fmla="*/ 2304 h 2304"/>
                <a:gd name="T10" fmla="*/ 3808 w 3808"/>
                <a:gd name="T11" fmla="*/ 1362 h 2304"/>
                <a:gd name="T12" fmla="*/ 1904 w 3808"/>
                <a:gd name="T13" fmla="*/ 0 h 2304"/>
                <a:gd name="T14" fmla="*/ 0 w 3808"/>
                <a:gd name="T15" fmla="*/ 1362 h 2304"/>
                <a:gd name="T16" fmla="*/ 0 w 3808"/>
                <a:gd name="T17" fmla="*/ 2304 h 2304"/>
                <a:gd name="T18" fmla="*/ 635 w 3808"/>
                <a:gd name="T19" fmla="*/ 2304 h 2304"/>
                <a:gd name="T20" fmla="*/ 635 w 3808"/>
                <a:gd name="T21" fmla="*/ 1676 h 2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08" h="2304">
                  <a:moveTo>
                    <a:pt x="635" y="1676"/>
                  </a:moveTo>
                  <a:cubicBezTo>
                    <a:pt x="635" y="1571"/>
                    <a:pt x="741" y="1362"/>
                    <a:pt x="847" y="1362"/>
                  </a:cubicBezTo>
                  <a:cubicBezTo>
                    <a:pt x="952" y="1362"/>
                    <a:pt x="952" y="1571"/>
                    <a:pt x="952" y="1676"/>
                  </a:cubicBezTo>
                  <a:cubicBezTo>
                    <a:pt x="952" y="2304"/>
                    <a:pt x="952" y="2304"/>
                    <a:pt x="952" y="2304"/>
                  </a:cubicBezTo>
                  <a:cubicBezTo>
                    <a:pt x="3808" y="2304"/>
                    <a:pt x="3808" y="2304"/>
                    <a:pt x="3808" y="2304"/>
                  </a:cubicBezTo>
                  <a:cubicBezTo>
                    <a:pt x="3808" y="1362"/>
                    <a:pt x="3808" y="1362"/>
                    <a:pt x="3808" y="1362"/>
                  </a:cubicBezTo>
                  <a:cubicBezTo>
                    <a:pt x="3808" y="629"/>
                    <a:pt x="2962" y="0"/>
                    <a:pt x="1904" y="0"/>
                  </a:cubicBezTo>
                  <a:cubicBezTo>
                    <a:pt x="847" y="0"/>
                    <a:pt x="0" y="629"/>
                    <a:pt x="0" y="1362"/>
                  </a:cubicBezTo>
                  <a:cubicBezTo>
                    <a:pt x="0" y="2304"/>
                    <a:pt x="0" y="2304"/>
                    <a:pt x="0" y="2304"/>
                  </a:cubicBezTo>
                  <a:cubicBezTo>
                    <a:pt x="635" y="2304"/>
                    <a:pt x="635" y="2304"/>
                    <a:pt x="635" y="2304"/>
                  </a:cubicBezTo>
                  <a:lnTo>
                    <a:pt x="635" y="1676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56D0686C-1165-429A-B974-C3F268308009}"/>
              </a:ext>
            </a:extLst>
          </p:cNvPr>
          <p:cNvSpPr/>
          <p:nvPr/>
        </p:nvSpPr>
        <p:spPr>
          <a:xfrm>
            <a:off x="5979842" y="3777824"/>
            <a:ext cx="330229" cy="432955"/>
          </a:xfrm>
          <a:custGeom>
            <a:avLst/>
            <a:gdLst>
              <a:gd name="connsiteX0" fmla="*/ 104583 w 270510"/>
              <a:gd name="connsiteY0" fmla="*/ 0 h 354659"/>
              <a:gd name="connsiteX1" fmla="*/ 124494 w 270510"/>
              <a:gd name="connsiteY1" fmla="*/ 4420 h 354659"/>
              <a:gd name="connsiteX2" fmla="*/ 154765 w 270510"/>
              <a:gd name="connsiteY2" fmla="*/ 10446 h 354659"/>
              <a:gd name="connsiteX3" fmla="*/ 181185 w 270510"/>
              <a:gd name="connsiteY3" fmla="*/ 3729 h 354659"/>
              <a:gd name="connsiteX4" fmla="*/ 140570 w 270510"/>
              <a:gd name="connsiteY4" fmla="*/ 58310 h 354659"/>
              <a:gd name="connsiteX5" fmla="*/ 89194 w 270510"/>
              <a:gd name="connsiteY5" fmla="*/ 7106 h 354659"/>
              <a:gd name="connsiteX6" fmla="*/ 104583 w 270510"/>
              <a:gd name="connsiteY6" fmla="*/ 0 h 354659"/>
              <a:gd name="connsiteX7" fmla="*/ 21162 w 270510"/>
              <a:gd name="connsiteY7" fmla="*/ 181308 h 354659"/>
              <a:gd name="connsiteX8" fmla="*/ 95200 w 270510"/>
              <a:gd name="connsiteY8" fmla="*/ 80113 h 354659"/>
              <a:gd name="connsiteX9" fmla="*/ 71540 w 270510"/>
              <a:gd name="connsiteY9" fmla="*/ 116718 h 354659"/>
              <a:gd name="connsiteX10" fmla="*/ 85605 w 270510"/>
              <a:gd name="connsiteY10" fmla="*/ 125811 h 354659"/>
              <a:gd name="connsiteX11" fmla="*/ 118058 w 270510"/>
              <a:gd name="connsiteY11" fmla="*/ 75600 h 354659"/>
              <a:gd name="connsiteX12" fmla="*/ 126881 w 270510"/>
              <a:gd name="connsiteY12" fmla="*/ 75154 h 354659"/>
              <a:gd name="connsiteX13" fmla="*/ 126881 w 270510"/>
              <a:gd name="connsiteY13" fmla="*/ 115524 h 354659"/>
              <a:gd name="connsiteX14" fmla="*/ 143628 w 270510"/>
              <a:gd name="connsiteY14" fmla="*/ 115524 h 354659"/>
              <a:gd name="connsiteX15" fmla="*/ 143628 w 270510"/>
              <a:gd name="connsiteY15" fmla="*/ 75153 h 354659"/>
              <a:gd name="connsiteX16" fmla="*/ 150891 w 270510"/>
              <a:gd name="connsiteY16" fmla="*/ 75521 h 354659"/>
              <a:gd name="connsiteX17" fmla="*/ 182747 w 270510"/>
              <a:gd name="connsiteY17" fmla="*/ 125839 h 354659"/>
              <a:gd name="connsiteX18" fmla="*/ 196893 w 270510"/>
              <a:gd name="connsiteY18" fmla="*/ 116886 h 354659"/>
              <a:gd name="connsiteX19" fmla="*/ 173235 w 270510"/>
              <a:gd name="connsiteY19" fmla="*/ 79516 h 354659"/>
              <a:gd name="connsiteX20" fmla="*/ 249356 w 270510"/>
              <a:gd name="connsiteY20" fmla="*/ 181308 h 354659"/>
              <a:gd name="connsiteX21" fmla="*/ 249356 w 270510"/>
              <a:gd name="connsiteY21" fmla="*/ 301137 h 354659"/>
              <a:gd name="connsiteX22" fmla="*/ 21162 w 270510"/>
              <a:gd name="connsiteY22" fmla="*/ 301137 h 354659"/>
              <a:gd name="connsiteX23" fmla="*/ 21162 w 270510"/>
              <a:gd name="connsiteY23" fmla="*/ 181308 h 354659"/>
              <a:gd name="connsiteX24" fmla="*/ 270510 w 270510"/>
              <a:gd name="connsiteY24" fmla="*/ 338420 h 354659"/>
              <a:gd name="connsiteX25" fmla="*/ 254270 w 270510"/>
              <a:gd name="connsiteY25" fmla="*/ 354660 h 354659"/>
              <a:gd name="connsiteX26" fmla="*/ 16240 w 270510"/>
              <a:gd name="connsiteY26" fmla="*/ 354660 h 354659"/>
              <a:gd name="connsiteX27" fmla="*/ 0 w 270510"/>
              <a:gd name="connsiteY27" fmla="*/ 338420 h 354659"/>
              <a:gd name="connsiteX28" fmla="*/ 0 w 270510"/>
              <a:gd name="connsiteY28" fmla="*/ 334037 h 354659"/>
              <a:gd name="connsiteX29" fmla="*/ 16240 w 270510"/>
              <a:gd name="connsiteY29" fmla="*/ 317883 h 354659"/>
              <a:gd name="connsiteX30" fmla="*/ 254270 w 270510"/>
              <a:gd name="connsiteY30" fmla="*/ 317883 h 354659"/>
              <a:gd name="connsiteX31" fmla="*/ 270510 w 270510"/>
              <a:gd name="connsiteY31" fmla="*/ 334037 h 354659"/>
              <a:gd name="connsiteX32" fmla="*/ 270510 w 270510"/>
              <a:gd name="connsiteY32" fmla="*/ 338420 h 354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70510" h="354659">
                <a:moveTo>
                  <a:pt x="104583" y="0"/>
                </a:moveTo>
                <a:cubicBezTo>
                  <a:pt x="110479" y="0"/>
                  <a:pt x="117290" y="2147"/>
                  <a:pt x="124494" y="4420"/>
                </a:cubicBezTo>
                <a:cubicBezTo>
                  <a:pt x="133448" y="7245"/>
                  <a:pt x="143596" y="10446"/>
                  <a:pt x="154765" y="10446"/>
                </a:cubicBezTo>
                <a:cubicBezTo>
                  <a:pt x="164177" y="10446"/>
                  <a:pt x="172959" y="8222"/>
                  <a:pt x="181185" y="3729"/>
                </a:cubicBezTo>
                <a:cubicBezTo>
                  <a:pt x="178388" y="24114"/>
                  <a:pt x="169410" y="56221"/>
                  <a:pt x="140570" y="58310"/>
                </a:cubicBezTo>
                <a:cubicBezTo>
                  <a:pt x="108876" y="60649"/>
                  <a:pt x="94615" y="27107"/>
                  <a:pt x="89194" y="7106"/>
                </a:cubicBezTo>
                <a:cubicBezTo>
                  <a:pt x="93961" y="2192"/>
                  <a:pt x="98704" y="0"/>
                  <a:pt x="104583" y="0"/>
                </a:cubicBezTo>
                <a:close/>
                <a:moveTo>
                  <a:pt x="21162" y="181308"/>
                </a:moveTo>
                <a:cubicBezTo>
                  <a:pt x="21162" y="133943"/>
                  <a:pt x="52324" y="93746"/>
                  <a:pt x="95200" y="80113"/>
                </a:cubicBezTo>
                <a:lnTo>
                  <a:pt x="71540" y="116718"/>
                </a:lnTo>
                <a:lnTo>
                  <a:pt x="85605" y="125811"/>
                </a:lnTo>
                <a:lnTo>
                  <a:pt x="118058" y="75600"/>
                </a:lnTo>
                <a:cubicBezTo>
                  <a:pt x="120972" y="75348"/>
                  <a:pt x="123906" y="75163"/>
                  <a:pt x="126881" y="75154"/>
                </a:cubicBezTo>
                <a:lnTo>
                  <a:pt x="126881" y="115524"/>
                </a:lnTo>
                <a:lnTo>
                  <a:pt x="143628" y="115524"/>
                </a:lnTo>
                <a:lnTo>
                  <a:pt x="143628" y="75153"/>
                </a:lnTo>
                <a:cubicBezTo>
                  <a:pt x="146077" y="75161"/>
                  <a:pt x="148482" y="75348"/>
                  <a:pt x="150891" y="75521"/>
                </a:cubicBezTo>
                <a:lnTo>
                  <a:pt x="182747" y="125839"/>
                </a:lnTo>
                <a:lnTo>
                  <a:pt x="196893" y="116886"/>
                </a:lnTo>
                <a:lnTo>
                  <a:pt x="173235" y="79516"/>
                </a:lnTo>
                <a:cubicBezTo>
                  <a:pt x="217174" y="92498"/>
                  <a:pt x="249356" y="133185"/>
                  <a:pt x="249356" y="181308"/>
                </a:cubicBezTo>
                <a:lnTo>
                  <a:pt x="249356" y="301137"/>
                </a:lnTo>
                <a:lnTo>
                  <a:pt x="21162" y="301137"/>
                </a:lnTo>
                <a:lnTo>
                  <a:pt x="21162" y="181308"/>
                </a:lnTo>
                <a:close/>
                <a:moveTo>
                  <a:pt x="270510" y="338420"/>
                </a:moveTo>
                <a:cubicBezTo>
                  <a:pt x="270510" y="347374"/>
                  <a:pt x="263224" y="354660"/>
                  <a:pt x="254270" y="354660"/>
                </a:cubicBezTo>
                <a:lnTo>
                  <a:pt x="16240" y="354660"/>
                </a:lnTo>
                <a:cubicBezTo>
                  <a:pt x="7285" y="354660"/>
                  <a:pt x="0" y="347374"/>
                  <a:pt x="0" y="338420"/>
                </a:cubicBezTo>
                <a:lnTo>
                  <a:pt x="0" y="334037"/>
                </a:lnTo>
                <a:cubicBezTo>
                  <a:pt x="0" y="325129"/>
                  <a:pt x="7285" y="317883"/>
                  <a:pt x="16240" y="317883"/>
                </a:cubicBezTo>
                <a:lnTo>
                  <a:pt x="254270" y="317883"/>
                </a:lnTo>
                <a:cubicBezTo>
                  <a:pt x="263224" y="317883"/>
                  <a:pt x="270510" y="325129"/>
                  <a:pt x="270510" y="334037"/>
                </a:cubicBezTo>
                <a:lnTo>
                  <a:pt x="270510" y="338420"/>
                </a:lnTo>
                <a:close/>
              </a:path>
            </a:pathLst>
          </a:custGeom>
          <a:solidFill>
            <a:schemeClr val="bg1"/>
          </a:solidFill>
          <a:ln w="7938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91" name="Grafik 90">
            <a:extLst>
              <a:ext uri="{FF2B5EF4-FFF2-40B4-BE49-F238E27FC236}">
                <a16:creationId xmlns:a16="http://schemas.microsoft.com/office/drawing/2014/main" id="{5714FFC4-394F-4B34-803F-0DC1184C294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48312" y="2110641"/>
            <a:ext cx="522874" cy="522874"/>
          </a:xfrm>
          <a:prstGeom prst="rect">
            <a:avLst/>
          </a:prstGeom>
        </p:spPr>
      </p:pic>
      <p:grpSp>
        <p:nvGrpSpPr>
          <p:cNvPr id="31" name="Grafik 29">
            <a:extLst>
              <a:ext uri="{FF2B5EF4-FFF2-40B4-BE49-F238E27FC236}">
                <a16:creationId xmlns:a16="http://schemas.microsoft.com/office/drawing/2014/main" id="{D4100F3C-ED38-4375-96E5-926F52A27849}"/>
              </a:ext>
            </a:extLst>
          </p:cNvPr>
          <p:cNvGrpSpPr/>
          <p:nvPr/>
        </p:nvGrpSpPr>
        <p:grpSpPr>
          <a:xfrm>
            <a:off x="3758428" y="2158017"/>
            <a:ext cx="390963" cy="455944"/>
            <a:chOff x="10830522" y="2954125"/>
            <a:chExt cx="714375" cy="833110"/>
          </a:xfrm>
          <a:solidFill>
            <a:schemeClr val="bg1"/>
          </a:solidFill>
        </p:grpSpPr>
        <p:sp>
          <p:nvSpPr>
            <p:cNvPr id="455" name="Freihandform: Form 454">
              <a:extLst>
                <a:ext uri="{FF2B5EF4-FFF2-40B4-BE49-F238E27FC236}">
                  <a16:creationId xmlns:a16="http://schemas.microsoft.com/office/drawing/2014/main" id="{D70662AC-4E6C-4312-84C6-2EB9B583ACE7}"/>
                </a:ext>
              </a:extLst>
            </p:cNvPr>
            <p:cNvSpPr/>
            <p:nvPr/>
          </p:nvSpPr>
          <p:spPr>
            <a:xfrm>
              <a:off x="11157944" y="3281220"/>
              <a:ext cx="59531" cy="59531"/>
            </a:xfrm>
            <a:custGeom>
              <a:avLst/>
              <a:gdLst>
                <a:gd name="connsiteX0" fmla="*/ 59531 w 59531"/>
                <a:gd name="connsiteY0" fmla="*/ 29766 h 59531"/>
                <a:gd name="connsiteX1" fmla="*/ 29766 w 59531"/>
                <a:gd name="connsiteY1" fmla="*/ 59531 h 59531"/>
                <a:gd name="connsiteX2" fmla="*/ 0 w 59531"/>
                <a:gd name="connsiteY2" fmla="*/ 29766 h 59531"/>
                <a:gd name="connsiteX3" fmla="*/ 29766 w 59531"/>
                <a:gd name="connsiteY3" fmla="*/ 0 h 59531"/>
                <a:gd name="connsiteX4" fmla="*/ 59531 w 59531"/>
                <a:gd name="connsiteY4" fmla="*/ 29766 h 59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531" h="59531">
                  <a:moveTo>
                    <a:pt x="59531" y="29766"/>
                  </a:moveTo>
                  <a:cubicBezTo>
                    <a:pt x="59531" y="46205"/>
                    <a:pt x="46205" y="59531"/>
                    <a:pt x="29766" y="59531"/>
                  </a:cubicBezTo>
                  <a:cubicBezTo>
                    <a:pt x="13327" y="59531"/>
                    <a:pt x="0" y="46205"/>
                    <a:pt x="0" y="29766"/>
                  </a:cubicBezTo>
                  <a:cubicBezTo>
                    <a:pt x="0" y="13327"/>
                    <a:pt x="13327" y="0"/>
                    <a:pt x="29766" y="0"/>
                  </a:cubicBezTo>
                  <a:cubicBezTo>
                    <a:pt x="46205" y="0"/>
                    <a:pt x="59531" y="13327"/>
                    <a:pt x="59531" y="29766"/>
                  </a:cubicBez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6" name="Freihandform: Form 455">
              <a:extLst>
                <a:ext uri="{FF2B5EF4-FFF2-40B4-BE49-F238E27FC236}">
                  <a16:creationId xmlns:a16="http://schemas.microsoft.com/office/drawing/2014/main" id="{34C1B035-5019-4124-BDE6-85CC5731F0BB}"/>
                </a:ext>
              </a:extLst>
            </p:cNvPr>
            <p:cNvSpPr/>
            <p:nvPr/>
          </p:nvSpPr>
          <p:spPr>
            <a:xfrm>
              <a:off x="11098413" y="3221688"/>
              <a:ext cx="178593" cy="178593"/>
            </a:xfrm>
            <a:custGeom>
              <a:avLst/>
              <a:gdLst>
                <a:gd name="connsiteX0" fmla="*/ 178594 w 178593"/>
                <a:gd name="connsiteY0" fmla="*/ 89297 h 178593"/>
                <a:gd name="connsiteX1" fmla="*/ 89297 w 178593"/>
                <a:gd name="connsiteY1" fmla="*/ 0 h 178593"/>
                <a:gd name="connsiteX2" fmla="*/ 0 w 178593"/>
                <a:gd name="connsiteY2" fmla="*/ 89297 h 178593"/>
                <a:gd name="connsiteX3" fmla="*/ 89297 w 178593"/>
                <a:gd name="connsiteY3" fmla="*/ 178594 h 178593"/>
                <a:gd name="connsiteX4" fmla="*/ 178594 w 178593"/>
                <a:gd name="connsiteY4" fmla="*/ 89297 h 178593"/>
                <a:gd name="connsiteX5" fmla="*/ 29766 w 178593"/>
                <a:gd name="connsiteY5" fmla="*/ 89297 h 178593"/>
                <a:gd name="connsiteX6" fmla="*/ 89297 w 178593"/>
                <a:gd name="connsiteY6" fmla="*/ 29766 h 178593"/>
                <a:gd name="connsiteX7" fmla="*/ 148828 w 178593"/>
                <a:gd name="connsiteY7" fmla="*/ 89297 h 178593"/>
                <a:gd name="connsiteX8" fmla="*/ 89297 w 178593"/>
                <a:gd name="connsiteY8" fmla="*/ 148828 h 178593"/>
                <a:gd name="connsiteX9" fmla="*/ 29766 w 178593"/>
                <a:gd name="connsiteY9" fmla="*/ 89297 h 178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8593" h="178593">
                  <a:moveTo>
                    <a:pt x="178594" y="89297"/>
                  </a:moveTo>
                  <a:cubicBezTo>
                    <a:pt x="178594" y="39980"/>
                    <a:pt x="138614" y="0"/>
                    <a:pt x="89297" y="0"/>
                  </a:cubicBezTo>
                  <a:cubicBezTo>
                    <a:pt x="39980" y="0"/>
                    <a:pt x="0" y="39980"/>
                    <a:pt x="0" y="89297"/>
                  </a:cubicBezTo>
                  <a:cubicBezTo>
                    <a:pt x="0" y="138614"/>
                    <a:pt x="39980" y="178594"/>
                    <a:pt x="89297" y="178594"/>
                  </a:cubicBezTo>
                  <a:cubicBezTo>
                    <a:pt x="138593" y="178545"/>
                    <a:pt x="178545" y="138593"/>
                    <a:pt x="178594" y="89297"/>
                  </a:cubicBezTo>
                  <a:close/>
                  <a:moveTo>
                    <a:pt x="29766" y="89297"/>
                  </a:moveTo>
                  <a:cubicBezTo>
                    <a:pt x="29766" y="56419"/>
                    <a:pt x="56419" y="29766"/>
                    <a:pt x="89297" y="29766"/>
                  </a:cubicBezTo>
                  <a:cubicBezTo>
                    <a:pt x="122174" y="29766"/>
                    <a:pt x="148828" y="56419"/>
                    <a:pt x="148828" y="89297"/>
                  </a:cubicBezTo>
                  <a:cubicBezTo>
                    <a:pt x="148828" y="122175"/>
                    <a:pt x="122174" y="148828"/>
                    <a:pt x="89297" y="148828"/>
                  </a:cubicBezTo>
                  <a:cubicBezTo>
                    <a:pt x="56419" y="148828"/>
                    <a:pt x="29766" y="122175"/>
                    <a:pt x="29766" y="89297"/>
                  </a:cubicBez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8" name="Freihandform: Form 457">
              <a:extLst>
                <a:ext uri="{FF2B5EF4-FFF2-40B4-BE49-F238E27FC236}">
                  <a16:creationId xmlns:a16="http://schemas.microsoft.com/office/drawing/2014/main" id="{53F97CC2-CF46-4033-B7A8-2F0B1A4F7C9C}"/>
                </a:ext>
              </a:extLst>
            </p:cNvPr>
            <p:cNvSpPr/>
            <p:nvPr/>
          </p:nvSpPr>
          <p:spPr>
            <a:xfrm>
              <a:off x="10830849" y="2954125"/>
              <a:ext cx="713720" cy="594895"/>
            </a:xfrm>
            <a:custGeom>
              <a:avLst/>
              <a:gdLst>
                <a:gd name="connsiteX0" fmla="*/ 59204 w 713720"/>
                <a:gd name="connsiteY0" fmla="*/ 401509 h 594895"/>
                <a:gd name="connsiteX1" fmla="*/ 49902 w 713720"/>
                <a:gd name="connsiteY1" fmla="*/ 398249 h 594895"/>
                <a:gd name="connsiteX2" fmla="*/ 0 w 713720"/>
                <a:gd name="connsiteY2" fmla="*/ 358348 h 594895"/>
                <a:gd name="connsiteX3" fmla="*/ 15061 w 713720"/>
                <a:gd name="connsiteY3" fmla="*/ 460057 h 594895"/>
                <a:gd name="connsiteX4" fmla="*/ 97423 w 713720"/>
                <a:gd name="connsiteY4" fmla="*/ 483870 h 594895"/>
                <a:gd name="connsiteX5" fmla="*/ 108189 w 713720"/>
                <a:gd name="connsiteY5" fmla="*/ 501956 h 594895"/>
                <a:gd name="connsiteX6" fmla="*/ 90104 w 713720"/>
                <a:gd name="connsiteY6" fmla="*/ 512722 h 594895"/>
                <a:gd name="connsiteX7" fmla="*/ 89148 w 713720"/>
                <a:gd name="connsiteY7" fmla="*/ 512445 h 594895"/>
                <a:gd name="connsiteX8" fmla="*/ 27474 w 713720"/>
                <a:gd name="connsiteY8" fmla="*/ 494586 h 594895"/>
                <a:gd name="connsiteX9" fmla="*/ 85517 w 713720"/>
                <a:gd name="connsiteY9" fmla="*/ 588943 h 594895"/>
                <a:gd name="connsiteX10" fmla="*/ 90830 w 713720"/>
                <a:gd name="connsiteY10" fmla="*/ 594896 h 594895"/>
                <a:gd name="connsiteX11" fmla="*/ 622876 w 713720"/>
                <a:gd name="connsiteY11" fmla="*/ 594896 h 594895"/>
                <a:gd name="connsiteX12" fmla="*/ 671587 w 713720"/>
                <a:gd name="connsiteY12" fmla="*/ 525393 h 594895"/>
                <a:gd name="connsiteX13" fmla="*/ 630183 w 713720"/>
                <a:gd name="connsiteY13" fmla="*/ 450428 h 594895"/>
                <a:gd name="connsiteX14" fmla="*/ 636318 w 713720"/>
                <a:gd name="connsiteY14" fmla="*/ 430295 h 594895"/>
                <a:gd name="connsiteX15" fmla="*/ 656243 w 713720"/>
                <a:gd name="connsiteY15" fmla="*/ 436052 h 594895"/>
                <a:gd name="connsiteX16" fmla="*/ 687318 w 713720"/>
                <a:gd name="connsiteY16" fmla="*/ 492309 h 594895"/>
                <a:gd name="connsiteX17" fmla="*/ 712262 w 713720"/>
                <a:gd name="connsiteY17" fmla="*/ 392207 h 594895"/>
                <a:gd name="connsiteX18" fmla="*/ 645215 w 713720"/>
                <a:gd name="connsiteY18" fmla="*/ 338629 h 594895"/>
                <a:gd name="connsiteX19" fmla="*/ 642893 w 713720"/>
                <a:gd name="connsiteY19" fmla="*/ 317703 h 594895"/>
                <a:gd name="connsiteX20" fmla="*/ 663818 w 713720"/>
                <a:gd name="connsiteY20" fmla="*/ 315382 h 594895"/>
                <a:gd name="connsiteX21" fmla="*/ 713720 w 713720"/>
                <a:gd name="connsiteY21" fmla="*/ 355268 h 594895"/>
                <a:gd name="connsiteX22" fmla="*/ 698659 w 713720"/>
                <a:gd name="connsiteY22" fmla="*/ 253558 h 594895"/>
                <a:gd name="connsiteX23" fmla="*/ 616297 w 713720"/>
                <a:gd name="connsiteY23" fmla="*/ 229761 h 594895"/>
                <a:gd name="connsiteX24" fmla="*/ 605531 w 713720"/>
                <a:gd name="connsiteY24" fmla="*/ 211675 h 594895"/>
                <a:gd name="connsiteX25" fmla="*/ 623617 w 713720"/>
                <a:gd name="connsiteY25" fmla="*/ 200909 h 594895"/>
                <a:gd name="connsiteX26" fmla="*/ 624572 w 713720"/>
                <a:gd name="connsiteY26" fmla="*/ 201186 h 594895"/>
                <a:gd name="connsiteX27" fmla="*/ 686247 w 713720"/>
                <a:gd name="connsiteY27" fmla="*/ 219045 h 594895"/>
                <a:gd name="connsiteX28" fmla="*/ 632862 w 713720"/>
                <a:gd name="connsiteY28" fmla="*/ 130701 h 594895"/>
                <a:gd name="connsiteX29" fmla="*/ 547941 w 713720"/>
                <a:gd name="connsiteY29" fmla="*/ 140062 h 594895"/>
                <a:gd name="connsiteX30" fmla="*/ 546303 w 713720"/>
                <a:gd name="connsiteY30" fmla="*/ 140151 h 594895"/>
                <a:gd name="connsiteX31" fmla="*/ 531441 w 713720"/>
                <a:gd name="connsiteY31" fmla="*/ 125248 h 594895"/>
                <a:gd name="connsiteX32" fmla="*/ 544696 w 713720"/>
                <a:gd name="connsiteY32" fmla="*/ 110475 h 594895"/>
                <a:gd name="connsiteX33" fmla="*/ 608261 w 713720"/>
                <a:gd name="connsiteY33" fmla="*/ 103465 h 594895"/>
                <a:gd name="connsiteX34" fmla="*/ 525378 w 713720"/>
                <a:gd name="connsiteY34" fmla="*/ 42163 h 594895"/>
                <a:gd name="connsiteX35" fmla="*/ 450518 w 713720"/>
                <a:gd name="connsiteY35" fmla="*/ 83522 h 594895"/>
                <a:gd name="connsiteX36" fmla="*/ 430307 w 713720"/>
                <a:gd name="connsiteY36" fmla="*/ 77688 h 594895"/>
                <a:gd name="connsiteX37" fmla="*/ 436138 w 713720"/>
                <a:gd name="connsiteY37" fmla="*/ 57464 h 594895"/>
                <a:gd name="connsiteX38" fmla="*/ 436141 w 713720"/>
                <a:gd name="connsiteY38" fmla="*/ 57463 h 594895"/>
                <a:gd name="connsiteX39" fmla="*/ 492294 w 713720"/>
                <a:gd name="connsiteY39" fmla="*/ 26462 h 594895"/>
                <a:gd name="connsiteX40" fmla="*/ 392162 w 713720"/>
                <a:gd name="connsiteY40" fmla="*/ 1607 h 594895"/>
                <a:gd name="connsiteX41" fmla="*/ 338658 w 713720"/>
                <a:gd name="connsiteY41" fmla="*/ 68580 h 594895"/>
                <a:gd name="connsiteX42" fmla="*/ 317733 w 713720"/>
                <a:gd name="connsiteY42" fmla="*/ 70902 h 594895"/>
                <a:gd name="connsiteX43" fmla="*/ 315411 w 713720"/>
                <a:gd name="connsiteY43" fmla="*/ 49976 h 594895"/>
                <a:gd name="connsiteX44" fmla="*/ 355372 w 713720"/>
                <a:gd name="connsiteY44" fmla="*/ 0 h 594895"/>
                <a:gd name="connsiteX45" fmla="*/ 253663 w 713720"/>
                <a:gd name="connsiteY45" fmla="*/ 15061 h 594895"/>
                <a:gd name="connsiteX46" fmla="*/ 229761 w 713720"/>
                <a:gd name="connsiteY46" fmla="*/ 97423 h 594895"/>
                <a:gd name="connsiteX47" fmla="*/ 215473 w 713720"/>
                <a:gd name="connsiteY47" fmla="*/ 108183 h 594895"/>
                <a:gd name="connsiteX48" fmla="*/ 200595 w 713720"/>
                <a:gd name="connsiteY48" fmla="*/ 93296 h 594895"/>
                <a:gd name="connsiteX49" fmla="*/ 201186 w 713720"/>
                <a:gd name="connsiteY49" fmla="*/ 89148 h 594895"/>
                <a:gd name="connsiteX50" fmla="*/ 219045 w 713720"/>
                <a:gd name="connsiteY50" fmla="*/ 27474 h 594895"/>
                <a:gd name="connsiteX51" fmla="*/ 130701 w 713720"/>
                <a:gd name="connsiteY51" fmla="*/ 80858 h 594895"/>
                <a:gd name="connsiteX52" fmla="*/ 140062 w 713720"/>
                <a:gd name="connsiteY52" fmla="*/ 165780 h 594895"/>
                <a:gd name="connsiteX53" fmla="*/ 126891 w 713720"/>
                <a:gd name="connsiteY53" fmla="*/ 182151 h 594895"/>
                <a:gd name="connsiteX54" fmla="*/ 125239 w 713720"/>
                <a:gd name="connsiteY54" fmla="*/ 182240 h 594895"/>
                <a:gd name="connsiteX55" fmla="*/ 110475 w 713720"/>
                <a:gd name="connsiteY55" fmla="*/ 168979 h 594895"/>
                <a:gd name="connsiteX56" fmla="*/ 103465 w 713720"/>
                <a:gd name="connsiteY56" fmla="*/ 105415 h 594895"/>
                <a:gd name="connsiteX57" fmla="*/ 42178 w 713720"/>
                <a:gd name="connsiteY57" fmla="*/ 188297 h 594895"/>
                <a:gd name="connsiteX58" fmla="*/ 83537 w 713720"/>
                <a:gd name="connsiteY58" fmla="*/ 263143 h 594895"/>
                <a:gd name="connsiteX59" fmla="*/ 77711 w 713720"/>
                <a:gd name="connsiteY59" fmla="*/ 283376 h 594895"/>
                <a:gd name="connsiteX60" fmla="*/ 57477 w 713720"/>
                <a:gd name="connsiteY60" fmla="*/ 277550 h 594895"/>
                <a:gd name="connsiteX61" fmla="*/ 26462 w 713720"/>
                <a:gd name="connsiteY61" fmla="*/ 221322 h 594895"/>
                <a:gd name="connsiteX62" fmla="*/ 1459 w 713720"/>
                <a:gd name="connsiteY62" fmla="*/ 321409 h 594895"/>
                <a:gd name="connsiteX63" fmla="*/ 68506 w 713720"/>
                <a:gd name="connsiteY63" fmla="*/ 374987 h 594895"/>
                <a:gd name="connsiteX64" fmla="*/ 70867 w 713720"/>
                <a:gd name="connsiteY64" fmla="*/ 395902 h 594895"/>
                <a:gd name="connsiteX65" fmla="*/ 59204 w 713720"/>
                <a:gd name="connsiteY65" fmla="*/ 401509 h 594895"/>
                <a:gd name="connsiteX66" fmla="*/ 356860 w 713720"/>
                <a:gd name="connsiteY66" fmla="*/ 148501 h 594895"/>
                <a:gd name="connsiteX67" fmla="*/ 565217 w 713720"/>
                <a:gd name="connsiteY67" fmla="*/ 355939 h 594895"/>
                <a:gd name="connsiteX68" fmla="*/ 545366 w 713720"/>
                <a:gd name="connsiteY68" fmla="*/ 445056 h 594895"/>
                <a:gd name="connsiteX69" fmla="*/ 544324 w 713720"/>
                <a:gd name="connsiteY69" fmla="*/ 447214 h 594895"/>
                <a:gd name="connsiteX70" fmla="*/ 487903 w 713720"/>
                <a:gd name="connsiteY70" fmla="*/ 518651 h 594895"/>
                <a:gd name="connsiteX71" fmla="*/ 487695 w 713720"/>
                <a:gd name="connsiteY71" fmla="*/ 518859 h 594895"/>
                <a:gd name="connsiteX72" fmla="*/ 487516 w 713720"/>
                <a:gd name="connsiteY72" fmla="*/ 518949 h 594895"/>
                <a:gd name="connsiteX73" fmla="*/ 372145 w 713720"/>
                <a:gd name="connsiteY73" fmla="*/ 564460 h 594895"/>
                <a:gd name="connsiteX74" fmla="*/ 372145 w 713720"/>
                <a:gd name="connsiteY74" fmla="*/ 564460 h 594895"/>
                <a:gd name="connsiteX75" fmla="*/ 356905 w 713720"/>
                <a:gd name="connsiteY75" fmla="*/ 565234 h 594895"/>
                <a:gd name="connsiteX76" fmla="*/ 148545 w 713720"/>
                <a:gd name="connsiteY76" fmla="*/ 356875 h 594895"/>
                <a:gd name="connsiteX77" fmla="*/ 356905 w 713720"/>
                <a:gd name="connsiteY77" fmla="*/ 148516 h 594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713720" h="594895">
                  <a:moveTo>
                    <a:pt x="59204" y="401509"/>
                  </a:moveTo>
                  <a:cubicBezTo>
                    <a:pt x="55822" y="401510"/>
                    <a:pt x="52542" y="400361"/>
                    <a:pt x="49902" y="398249"/>
                  </a:cubicBezTo>
                  <a:lnTo>
                    <a:pt x="0" y="358348"/>
                  </a:lnTo>
                  <a:cubicBezTo>
                    <a:pt x="117" y="392798"/>
                    <a:pt x="5189" y="427052"/>
                    <a:pt x="15061" y="460057"/>
                  </a:cubicBezTo>
                  <a:lnTo>
                    <a:pt x="97423" y="483870"/>
                  </a:lnTo>
                  <a:cubicBezTo>
                    <a:pt x="105390" y="485891"/>
                    <a:pt x="110210" y="493989"/>
                    <a:pt x="108189" y="501956"/>
                  </a:cubicBezTo>
                  <a:cubicBezTo>
                    <a:pt x="106168" y="509922"/>
                    <a:pt x="98070" y="514743"/>
                    <a:pt x="90104" y="512722"/>
                  </a:cubicBezTo>
                  <a:cubicBezTo>
                    <a:pt x="89782" y="512640"/>
                    <a:pt x="89464" y="512548"/>
                    <a:pt x="89148" y="512445"/>
                  </a:cubicBezTo>
                  <a:lnTo>
                    <a:pt x="27474" y="494586"/>
                  </a:lnTo>
                  <a:cubicBezTo>
                    <a:pt x="41761" y="528883"/>
                    <a:pt x="61347" y="560723"/>
                    <a:pt x="85517" y="588943"/>
                  </a:cubicBezTo>
                  <a:cubicBezTo>
                    <a:pt x="87288" y="591130"/>
                    <a:pt x="89074" y="592961"/>
                    <a:pt x="90830" y="594896"/>
                  </a:cubicBezTo>
                  <a:lnTo>
                    <a:pt x="622876" y="594896"/>
                  </a:lnTo>
                  <a:cubicBezTo>
                    <a:pt x="641818" y="573747"/>
                    <a:pt x="658170" y="550416"/>
                    <a:pt x="671587" y="525393"/>
                  </a:cubicBezTo>
                  <a:lnTo>
                    <a:pt x="630183" y="450428"/>
                  </a:lnTo>
                  <a:cubicBezTo>
                    <a:pt x="626318" y="443174"/>
                    <a:pt x="629064" y="434160"/>
                    <a:pt x="636318" y="430295"/>
                  </a:cubicBezTo>
                  <a:cubicBezTo>
                    <a:pt x="643423" y="426509"/>
                    <a:pt x="652251" y="429060"/>
                    <a:pt x="656243" y="436052"/>
                  </a:cubicBezTo>
                  <a:lnTo>
                    <a:pt x="687318" y="492309"/>
                  </a:lnTo>
                  <a:cubicBezTo>
                    <a:pt x="700482" y="460340"/>
                    <a:pt x="708886" y="426614"/>
                    <a:pt x="712262" y="392207"/>
                  </a:cubicBezTo>
                  <a:lnTo>
                    <a:pt x="645215" y="338629"/>
                  </a:lnTo>
                  <a:cubicBezTo>
                    <a:pt x="638796" y="333491"/>
                    <a:pt x="637755" y="324122"/>
                    <a:pt x="642893" y="317703"/>
                  </a:cubicBezTo>
                  <a:cubicBezTo>
                    <a:pt x="648030" y="311284"/>
                    <a:pt x="657399" y="310244"/>
                    <a:pt x="663818" y="315382"/>
                  </a:cubicBezTo>
                  <a:lnTo>
                    <a:pt x="713720" y="355268"/>
                  </a:lnTo>
                  <a:cubicBezTo>
                    <a:pt x="713604" y="320818"/>
                    <a:pt x="708531" y="286564"/>
                    <a:pt x="698659" y="253558"/>
                  </a:cubicBezTo>
                  <a:lnTo>
                    <a:pt x="616297" y="229761"/>
                  </a:lnTo>
                  <a:cubicBezTo>
                    <a:pt x="608331" y="227740"/>
                    <a:pt x="603510" y="219642"/>
                    <a:pt x="605531" y="211675"/>
                  </a:cubicBezTo>
                  <a:cubicBezTo>
                    <a:pt x="607552" y="203708"/>
                    <a:pt x="615650" y="198888"/>
                    <a:pt x="623617" y="200909"/>
                  </a:cubicBezTo>
                  <a:cubicBezTo>
                    <a:pt x="623938" y="200991"/>
                    <a:pt x="624257" y="201083"/>
                    <a:pt x="624572" y="201186"/>
                  </a:cubicBezTo>
                  <a:lnTo>
                    <a:pt x="686247" y="219045"/>
                  </a:lnTo>
                  <a:cubicBezTo>
                    <a:pt x="672864" y="187147"/>
                    <a:pt x="654878" y="157383"/>
                    <a:pt x="632862" y="130701"/>
                  </a:cubicBezTo>
                  <a:lnTo>
                    <a:pt x="547941" y="140062"/>
                  </a:lnTo>
                  <a:cubicBezTo>
                    <a:pt x="547397" y="140122"/>
                    <a:pt x="546850" y="140151"/>
                    <a:pt x="546303" y="140151"/>
                  </a:cubicBezTo>
                  <a:cubicBezTo>
                    <a:pt x="538084" y="140140"/>
                    <a:pt x="531430" y="133468"/>
                    <a:pt x="531441" y="125248"/>
                  </a:cubicBezTo>
                  <a:cubicBezTo>
                    <a:pt x="531452" y="117666"/>
                    <a:pt x="537159" y="111304"/>
                    <a:pt x="544696" y="110475"/>
                  </a:cubicBezTo>
                  <a:lnTo>
                    <a:pt x="608261" y="103465"/>
                  </a:lnTo>
                  <a:cubicBezTo>
                    <a:pt x="583784" y="79082"/>
                    <a:pt x="555858" y="58428"/>
                    <a:pt x="525378" y="42163"/>
                  </a:cubicBezTo>
                  <a:lnTo>
                    <a:pt x="450518" y="83522"/>
                  </a:lnTo>
                  <a:cubicBezTo>
                    <a:pt x="443325" y="87488"/>
                    <a:pt x="434280" y="84877"/>
                    <a:pt x="430307" y="77688"/>
                  </a:cubicBezTo>
                  <a:cubicBezTo>
                    <a:pt x="426332" y="70494"/>
                    <a:pt x="428942" y="61439"/>
                    <a:pt x="436138" y="57464"/>
                  </a:cubicBezTo>
                  <a:cubicBezTo>
                    <a:pt x="436138" y="57464"/>
                    <a:pt x="436139" y="57463"/>
                    <a:pt x="436141" y="57463"/>
                  </a:cubicBezTo>
                  <a:lnTo>
                    <a:pt x="492294" y="26462"/>
                  </a:lnTo>
                  <a:cubicBezTo>
                    <a:pt x="460315" y="13316"/>
                    <a:pt x="426577" y="4941"/>
                    <a:pt x="392162" y="1607"/>
                  </a:cubicBezTo>
                  <a:lnTo>
                    <a:pt x="338658" y="68580"/>
                  </a:lnTo>
                  <a:cubicBezTo>
                    <a:pt x="333521" y="74999"/>
                    <a:pt x="324152" y="76039"/>
                    <a:pt x="317733" y="70902"/>
                  </a:cubicBezTo>
                  <a:cubicBezTo>
                    <a:pt x="311314" y="65764"/>
                    <a:pt x="310274" y="56396"/>
                    <a:pt x="315411" y="49976"/>
                  </a:cubicBezTo>
                  <a:lnTo>
                    <a:pt x="355372" y="0"/>
                  </a:lnTo>
                  <a:cubicBezTo>
                    <a:pt x="320923" y="122"/>
                    <a:pt x="286670" y="5194"/>
                    <a:pt x="253663" y="15061"/>
                  </a:cubicBezTo>
                  <a:lnTo>
                    <a:pt x="229761" y="97423"/>
                  </a:lnTo>
                  <a:cubicBezTo>
                    <a:pt x="227926" y="103791"/>
                    <a:pt x="222101" y="108177"/>
                    <a:pt x="215473" y="108183"/>
                  </a:cubicBezTo>
                  <a:cubicBezTo>
                    <a:pt x="207254" y="108180"/>
                    <a:pt x="200592" y="101516"/>
                    <a:pt x="200595" y="93296"/>
                  </a:cubicBezTo>
                  <a:cubicBezTo>
                    <a:pt x="200595" y="91892"/>
                    <a:pt x="200794" y="90496"/>
                    <a:pt x="201186" y="89148"/>
                  </a:cubicBezTo>
                  <a:lnTo>
                    <a:pt x="219045" y="27474"/>
                  </a:lnTo>
                  <a:cubicBezTo>
                    <a:pt x="187147" y="40857"/>
                    <a:pt x="157383" y="58843"/>
                    <a:pt x="130701" y="80858"/>
                  </a:cubicBezTo>
                  <a:lnTo>
                    <a:pt x="140062" y="165780"/>
                  </a:lnTo>
                  <a:cubicBezTo>
                    <a:pt x="140931" y="173934"/>
                    <a:pt x="135042" y="181253"/>
                    <a:pt x="126891" y="182151"/>
                  </a:cubicBezTo>
                  <a:cubicBezTo>
                    <a:pt x="126342" y="182210"/>
                    <a:pt x="125791" y="182240"/>
                    <a:pt x="125239" y="182240"/>
                  </a:cubicBezTo>
                  <a:cubicBezTo>
                    <a:pt x="117659" y="182225"/>
                    <a:pt x="111301" y="176515"/>
                    <a:pt x="110475" y="168979"/>
                  </a:cubicBezTo>
                  <a:lnTo>
                    <a:pt x="103465" y="105415"/>
                  </a:lnTo>
                  <a:cubicBezTo>
                    <a:pt x="79083" y="129887"/>
                    <a:pt x="58431" y="157814"/>
                    <a:pt x="42178" y="188297"/>
                  </a:cubicBezTo>
                  <a:lnTo>
                    <a:pt x="83537" y="263143"/>
                  </a:lnTo>
                  <a:cubicBezTo>
                    <a:pt x="87515" y="270339"/>
                    <a:pt x="84906" y="279398"/>
                    <a:pt x="77711" y="283376"/>
                  </a:cubicBezTo>
                  <a:cubicBezTo>
                    <a:pt x="70515" y="287354"/>
                    <a:pt x="61456" y="284745"/>
                    <a:pt x="57477" y="277550"/>
                  </a:cubicBezTo>
                  <a:lnTo>
                    <a:pt x="26462" y="221322"/>
                  </a:lnTo>
                  <a:cubicBezTo>
                    <a:pt x="13279" y="253283"/>
                    <a:pt x="4855" y="287003"/>
                    <a:pt x="1459" y="321409"/>
                  </a:cubicBezTo>
                  <a:lnTo>
                    <a:pt x="68506" y="374987"/>
                  </a:lnTo>
                  <a:cubicBezTo>
                    <a:pt x="74933" y="380110"/>
                    <a:pt x="75992" y="389474"/>
                    <a:pt x="70867" y="395902"/>
                  </a:cubicBezTo>
                  <a:cubicBezTo>
                    <a:pt x="68038" y="399452"/>
                    <a:pt x="63743" y="401516"/>
                    <a:pt x="59204" y="401509"/>
                  </a:cubicBezTo>
                  <a:close/>
                  <a:moveTo>
                    <a:pt x="356860" y="148501"/>
                  </a:moveTo>
                  <a:cubicBezTo>
                    <a:pt x="471678" y="148248"/>
                    <a:pt x="564963" y="241121"/>
                    <a:pt x="565217" y="355939"/>
                  </a:cubicBezTo>
                  <a:cubicBezTo>
                    <a:pt x="565285" y="386748"/>
                    <a:pt x="558504" y="417188"/>
                    <a:pt x="545366" y="445056"/>
                  </a:cubicBezTo>
                  <a:cubicBezTo>
                    <a:pt x="545073" y="445800"/>
                    <a:pt x="544724" y="446522"/>
                    <a:pt x="544324" y="447214"/>
                  </a:cubicBezTo>
                  <a:cubicBezTo>
                    <a:pt x="530988" y="474878"/>
                    <a:pt x="511725" y="499268"/>
                    <a:pt x="487903" y="518651"/>
                  </a:cubicBezTo>
                  <a:cubicBezTo>
                    <a:pt x="487814" y="518651"/>
                    <a:pt x="487784" y="518800"/>
                    <a:pt x="487695" y="518859"/>
                  </a:cubicBezTo>
                  <a:lnTo>
                    <a:pt x="487516" y="518949"/>
                  </a:lnTo>
                  <a:cubicBezTo>
                    <a:pt x="454607" y="545541"/>
                    <a:pt x="414346" y="561423"/>
                    <a:pt x="372145" y="564460"/>
                  </a:cubicBezTo>
                  <a:lnTo>
                    <a:pt x="372145" y="564460"/>
                  </a:lnTo>
                  <a:cubicBezTo>
                    <a:pt x="367099" y="564833"/>
                    <a:pt x="362054" y="565234"/>
                    <a:pt x="356905" y="565234"/>
                  </a:cubicBezTo>
                  <a:cubicBezTo>
                    <a:pt x="241831" y="565234"/>
                    <a:pt x="148545" y="471949"/>
                    <a:pt x="148545" y="356875"/>
                  </a:cubicBezTo>
                  <a:cubicBezTo>
                    <a:pt x="148545" y="241801"/>
                    <a:pt x="241831" y="148516"/>
                    <a:pt x="356905" y="148516"/>
                  </a:cubicBez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9" name="Freihandform: Form 458">
              <a:extLst>
                <a:ext uri="{FF2B5EF4-FFF2-40B4-BE49-F238E27FC236}">
                  <a16:creationId xmlns:a16="http://schemas.microsoft.com/office/drawing/2014/main" id="{B5903748-10CC-410E-A827-E65306E0469F}"/>
                </a:ext>
              </a:extLst>
            </p:cNvPr>
            <p:cNvSpPr/>
            <p:nvPr/>
          </p:nvSpPr>
          <p:spPr>
            <a:xfrm>
              <a:off x="10830522" y="3578876"/>
              <a:ext cx="714375" cy="208359"/>
            </a:xfrm>
            <a:custGeom>
              <a:avLst/>
              <a:gdLst>
                <a:gd name="connsiteX0" fmla="*/ 709791 w 714375"/>
                <a:gd name="connsiteY0" fmla="*/ 49575 h 208359"/>
                <a:gd name="connsiteX1" fmla="*/ 681171 w 714375"/>
                <a:gd name="connsiteY1" fmla="*/ 83939 h 208359"/>
                <a:gd name="connsiteX2" fmla="*/ 660202 w 714375"/>
                <a:gd name="connsiteY2" fmla="*/ 85859 h 208359"/>
                <a:gd name="connsiteX3" fmla="*/ 658282 w 714375"/>
                <a:gd name="connsiteY3" fmla="*/ 64889 h 208359"/>
                <a:gd name="connsiteX4" fmla="*/ 693346 w 714375"/>
                <a:gd name="connsiteY4" fmla="*/ 22786 h 208359"/>
                <a:gd name="connsiteX5" fmla="*/ 639961 w 714375"/>
                <a:gd name="connsiteY5" fmla="*/ 0 h 208359"/>
                <a:gd name="connsiteX6" fmla="*/ 617160 w 714375"/>
                <a:gd name="connsiteY6" fmla="*/ 0 h 208359"/>
                <a:gd name="connsiteX7" fmla="*/ 547211 w 714375"/>
                <a:gd name="connsiteY7" fmla="*/ 83939 h 208359"/>
                <a:gd name="connsiteX8" fmla="*/ 526210 w 714375"/>
                <a:gd name="connsiteY8" fmla="*/ 85341 h 208359"/>
                <a:gd name="connsiteX9" fmla="*/ 524351 w 714375"/>
                <a:gd name="connsiteY9" fmla="*/ 64889 h 208359"/>
                <a:gd name="connsiteX10" fmla="*/ 578421 w 714375"/>
                <a:gd name="connsiteY10" fmla="*/ 0 h 208359"/>
                <a:gd name="connsiteX11" fmla="*/ 498053 w 714375"/>
                <a:gd name="connsiteY11" fmla="*/ 0 h 208359"/>
                <a:gd name="connsiteX12" fmla="*/ 428104 w 714375"/>
                <a:gd name="connsiteY12" fmla="*/ 83939 h 208359"/>
                <a:gd name="connsiteX13" fmla="*/ 407103 w 714375"/>
                <a:gd name="connsiteY13" fmla="*/ 85341 h 208359"/>
                <a:gd name="connsiteX14" fmla="*/ 405244 w 714375"/>
                <a:gd name="connsiteY14" fmla="*/ 64889 h 208359"/>
                <a:gd name="connsiteX15" fmla="*/ 459358 w 714375"/>
                <a:gd name="connsiteY15" fmla="*/ 0 h 208359"/>
                <a:gd name="connsiteX16" fmla="*/ 378991 w 714375"/>
                <a:gd name="connsiteY16" fmla="*/ 0 h 208359"/>
                <a:gd name="connsiteX17" fmla="*/ 309042 w 714375"/>
                <a:gd name="connsiteY17" fmla="*/ 83939 h 208359"/>
                <a:gd name="connsiteX18" fmla="*/ 288040 w 714375"/>
                <a:gd name="connsiteY18" fmla="*/ 85341 h 208359"/>
                <a:gd name="connsiteX19" fmla="*/ 286182 w 714375"/>
                <a:gd name="connsiteY19" fmla="*/ 64889 h 208359"/>
                <a:gd name="connsiteX20" fmla="*/ 340296 w 714375"/>
                <a:gd name="connsiteY20" fmla="*/ 0 h 208359"/>
                <a:gd name="connsiteX21" fmla="*/ 259928 w 714375"/>
                <a:gd name="connsiteY21" fmla="*/ 0 h 208359"/>
                <a:gd name="connsiteX22" fmla="*/ 189979 w 714375"/>
                <a:gd name="connsiteY22" fmla="*/ 83939 h 208359"/>
                <a:gd name="connsiteX23" fmla="*/ 168978 w 714375"/>
                <a:gd name="connsiteY23" fmla="*/ 85341 h 208359"/>
                <a:gd name="connsiteX24" fmla="*/ 167119 w 714375"/>
                <a:gd name="connsiteY24" fmla="*/ 64889 h 208359"/>
                <a:gd name="connsiteX25" fmla="*/ 221233 w 714375"/>
                <a:gd name="connsiteY25" fmla="*/ 0 h 208359"/>
                <a:gd name="connsiteX26" fmla="*/ 125983 w 714375"/>
                <a:gd name="connsiteY26" fmla="*/ 0 h 208359"/>
                <a:gd name="connsiteX27" fmla="*/ 56034 w 714375"/>
                <a:gd name="connsiteY27" fmla="*/ 83939 h 208359"/>
                <a:gd name="connsiteX28" fmla="*/ 35033 w 714375"/>
                <a:gd name="connsiteY28" fmla="*/ 85341 h 208359"/>
                <a:gd name="connsiteX29" fmla="*/ 33174 w 714375"/>
                <a:gd name="connsiteY29" fmla="*/ 64889 h 208359"/>
                <a:gd name="connsiteX30" fmla="*/ 87288 w 714375"/>
                <a:gd name="connsiteY30" fmla="*/ 0 h 208359"/>
                <a:gd name="connsiteX31" fmla="*/ 74414 w 714375"/>
                <a:gd name="connsiteY31" fmla="*/ 0 h 208359"/>
                <a:gd name="connsiteX32" fmla="*/ 0 w 714375"/>
                <a:gd name="connsiteY32" fmla="*/ 74414 h 208359"/>
                <a:gd name="connsiteX33" fmla="*/ 0 w 714375"/>
                <a:gd name="connsiteY33" fmla="*/ 133945 h 208359"/>
                <a:gd name="connsiteX34" fmla="*/ 74414 w 714375"/>
                <a:gd name="connsiteY34" fmla="*/ 208359 h 208359"/>
                <a:gd name="connsiteX35" fmla="*/ 87288 w 714375"/>
                <a:gd name="connsiteY35" fmla="*/ 208359 h 208359"/>
                <a:gd name="connsiteX36" fmla="*/ 33218 w 714375"/>
                <a:gd name="connsiteY36" fmla="*/ 143470 h 208359"/>
                <a:gd name="connsiteX37" fmla="*/ 35626 w 714375"/>
                <a:gd name="connsiteY37" fmla="*/ 122561 h 208359"/>
                <a:gd name="connsiteX38" fmla="*/ 56078 w 714375"/>
                <a:gd name="connsiteY38" fmla="*/ 124420 h 208359"/>
                <a:gd name="connsiteX39" fmla="*/ 126028 w 714375"/>
                <a:gd name="connsiteY39" fmla="*/ 208359 h 208359"/>
                <a:gd name="connsiteX40" fmla="*/ 221278 w 714375"/>
                <a:gd name="connsiteY40" fmla="*/ 208359 h 208359"/>
                <a:gd name="connsiteX41" fmla="*/ 167208 w 714375"/>
                <a:gd name="connsiteY41" fmla="*/ 143470 h 208359"/>
                <a:gd name="connsiteX42" fmla="*/ 169616 w 714375"/>
                <a:gd name="connsiteY42" fmla="*/ 122561 h 208359"/>
                <a:gd name="connsiteX43" fmla="*/ 190068 w 714375"/>
                <a:gd name="connsiteY43" fmla="*/ 124420 h 208359"/>
                <a:gd name="connsiteX44" fmla="*/ 260018 w 714375"/>
                <a:gd name="connsiteY44" fmla="*/ 208359 h 208359"/>
                <a:gd name="connsiteX45" fmla="*/ 340385 w 714375"/>
                <a:gd name="connsiteY45" fmla="*/ 208359 h 208359"/>
                <a:gd name="connsiteX46" fmla="*/ 286316 w 714375"/>
                <a:gd name="connsiteY46" fmla="*/ 143470 h 208359"/>
                <a:gd name="connsiteX47" fmla="*/ 288724 w 714375"/>
                <a:gd name="connsiteY47" fmla="*/ 122561 h 208359"/>
                <a:gd name="connsiteX48" fmla="*/ 309176 w 714375"/>
                <a:gd name="connsiteY48" fmla="*/ 124420 h 208359"/>
                <a:gd name="connsiteX49" fmla="*/ 379125 w 714375"/>
                <a:gd name="connsiteY49" fmla="*/ 208359 h 208359"/>
                <a:gd name="connsiteX50" fmla="*/ 459492 w 714375"/>
                <a:gd name="connsiteY50" fmla="*/ 208359 h 208359"/>
                <a:gd name="connsiteX51" fmla="*/ 405423 w 714375"/>
                <a:gd name="connsiteY51" fmla="*/ 143470 h 208359"/>
                <a:gd name="connsiteX52" fmla="*/ 407831 w 714375"/>
                <a:gd name="connsiteY52" fmla="*/ 122561 h 208359"/>
                <a:gd name="connsiteX53" fmla="*/ 428283 w 714375"/>
                <a:gd name="connsiteY53" fmla="*/ 124420 h 208359"/>
                <a:gd name="connsiteX54" fmla="*/ 498232 w 714375"/>
                <a:gd name="connsiteY54" fmla="*/ 208359 h 208359"/>
                <a:gd name="connsiteX55" fmla="*/ 578599 w 714375"/>
                <a:gd name="connsiteY55" fmla="*/ 208359 h 208359"/>
                <a:gd name="connsiteX56" fmla="*/ 524530 w 714375"/>
                <a:gd name="connsiteY56" fmla="*/ 143470 h 208359"/>
                <a:gd name="connsiteX57" fmla="*/ 526938 w 714375"/>
                <a:gd name="connsiteY57" fmla="*/ 122561 h 208359"/>
                <a:gd name="connsiteX58" fmla="*/ 547390 w 714375"/>
                <a:gd name="connsiteY58" fmla="*/ 124420 h 208359"/>
                <a:gd name="connsiteX59" fmla="*/ 617339 w 714375"/>
                <a:gd name="connsiteY59" fmla="*/ 208359 h 208359"/>
                <a:gd name="connsiteX60" fmla="*/ 639961 w 714375"/>
                <a:gd name="connsiteY60" fmla="*/ 208359 h 208359"/>
                <a:gd name="connsiteX61" fmla="*/ 693346 w 714375"/>
                <a:gd name="connsiteY61" fmla="*/ 185574 h 208359"/>
                <a:gd name="connsiteX62" fmla="*/ 658282 w 714375"/>
                <a:gd name="connsiteY62" fmla="*/ 143470 h 208359"/>
                <a:gd name="connsiteX63" fmla="*/ 660202 w 714375"/>
                <a:gd name="connsiteY63" fmla="*/ 122500 h 208359"/>
                <a:gd name="connsiteX64" fmla="*/ 681171 w 714375"/>
                <a:gd name="connsiteY64" fmla="*/ 124420 h 208359"/>
                <a:gd name="connsiteX65" fmla="*/ 709791 w 714375"/>
                <a:gd name="connsiteY65" fmla="*/ 158785 h 208359"/>
                <a:gd name="connsiteX66" fmla="*/ 714375 w 714375"/>
                <a:gd name="connsiteY66" fmla="*/ 133945 h 208359"/>
                <a:gd name="connsiteX67" fmla="*/ 714375 w 714375"/>
                <a:gd name="connsiteY67" fmla="*/ 74414 h 208359"/>
                <a:gd name="connsiteX68" fmla="*/ 709791 w 714375"/>
                <a:gd name="connsiteY68" fmla="*/ 49575 h 208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714375" h="208359">
                  <a:moveTo>
                    <a:pt x="709791" y="49575"/>
                  </a:moveTo>
                  <a:lnTo>
                    <a:pt x="681171" y="83939"/>
                  </a:lnTo>
                  <a:cubicBezTo>
                    <a:pt x="675910" y="90260"/>
                    <a:pt x="666522" y="91120"/>
                    <a:pt x="660202" y="85859"/>
                  </a:cubicBezTo>
                  <a:cubicBezTo>
                    <a:pt x="653881" y="80598"/>
                    <a:pt x="653021" y="71210"/>
                    <a:pt x="658282" y="64889"/>
                  </a:cubicBezTo>
                  <a:lnTo>
                    <a:pt x="693346" y="22786"/>
                  </a:lnTo>
                  <a:cubicBezTo>
                    <a:pt x="679391" y="8244"/>
                    <a:pt x="660115" y="16"/>
                    <a:pt x="639961" y="0"/>
                  </a:cubicBezTo>
                  <a:lnTo>
                    <a:pt x="617160" y="0"/>
                  </a:lnTo>
                  <a:lnTo>
                    <a:pt x="547211" y="83939"/>
                  </a:lnTo>
                  <a:cubicBezTo>
                    <a:pt x="541800" y="90126"/>
                    <a:pt x="532397" y="90752"/>
                    <a:pt x="526210" y="85341"/>
                  </a:cubicBezTo>
                  <a:cubicBezTo>
                    <a:pt x="520233" y="80111"/>
                    <a:pt x="519415" y="71110"/>
                    <a:pt x="524351" y="64889"/>
                  </a:cubicBezTo>
                  <a:lnTo>
                    <a:pt x="578421" y="0"/>
                  </a:lnTo>
                  <a:lnTo>
                    <a:pt x="498053" y="0"/>
                  </a:lnTo>
                  <a:lnTo>
                    <a:pt x="428104" y="83939"/>
                  </a:lnTo>
                  <a:cubicBezTo>
                    <a:pt x="422693" y="90126"/>
                    <a:pt x="413290" y="90752"/>
                    <a:pt x="407103" y="85341"/>
                  </a:cubicBezTo>
                  <a:cubicBezTo>
                    <a:pt x="401126" y="80111"/>
                    <a:pt x="400307" y="71110"/>
                    <a:pt x="405244" y="64889"/>
                  </a:cubicBezTo>
                  <a:lnTo>
                    <a:pt x="459358" y="0"/>
                  </a:lnTo>
                  <a:lnTo>
                    <a:pt x="378991" y="0"/>
                  </a:lnTo>
                  <a:lnTo>
                    <a:pt x="309042" y="83939"/>
                  </a:lnTo>
                  <a:cubicBezTo>
                    <a:pt x="303630" y="90126"/>
                    <a:pt x="294227" y="90752"/>
                    <a:pt x="288040" y="85341"/>
                  </a:cubicBezTo>
                  <a:cubicBezTo>
                    <a:pt x="282064" y="80111"/>
                    <a:pt x="281245" y="71110"/>
                    <a:pt x="286182" y="64889"/>
                  </a:cubicBezTo>
                  <a:lnTo>
                    <a:pt x="340296" y="0"/>
                  </a:lnTo>
                  <a:lnTo>
                    <a:pt x="259928" y="0"/>
                  </a:lnTo>
                  <a:lnTo>
                    <a:pt x="189979" y="83939"/>
                  </a:lnTo>
                  <a:cubicBezTo>
                    <a:pt x="184568" y="90126"/>
                    <a:pt x="175165" y="90752"/>
                    <a:pt x="168978" y="85341"/>
                  </a:cubicBezTo>
                  <a:cubicBezTo>
                    <a:pt x="163001" y="80111"/>
                    <a:pt x="162182" y="71110"/>
                    <a:pt x="167119" y="64889"/>
                  </a:cubicBezTo>
                  <a:lnTo>
                    <a:pt x="221233" y="0"/>
                  </a:lnTo>
                  <a:lnTo>
                    <a:pt x="125983" y="0"/>
                  </a:lnTo>
                  <a:lnTo>
                    <a:pt x="56034" y="83939"/>
                  </a:lnTo>
                  <a:cubicBezTo>
                    <a:pt x="50622" y="90126"/>
                    <a:pt x="41219" y="90752"/>
                    <a:pt x="35033" y="85341"/>
                  </a:cubicBezTo>
                  <a:cubicBezTo>
                    <a:pt x="29056" y="80111"/>
                    <a:pt x="28237" y="71110"/>
                    <a:pt x="33174" y="64889"/>
                  </a:cubicBezTo>
                  <a:lnTo>
                    <a:pt x="87288" y="0"/>
                  </a:lnTo>
                  <a:lnTo>
                    <a:pt x="74414" y="0"/>
                  </a:lnTo>
                  <a:cubicBezTo>
                    <a:pt x="33336" y="49"/>
                    <a:pt x="49" y="33336"/>
                    <a:pt x="0" y="74414"/>
                  </a:cubicBezTo>
                  <a:lnTo>
                    <a:pt x="0" y="133945"/>
                  </a:lnTo>
                  <a:cubicBezTo>
                    <a:pt x="49" y="175023"/>
                    <a:pt x="33336" y="208310"/>
                    <a:pt x="74414" y="208359"/>
                  </a:cubicBezTo>
                  <a:lnTo>
                    <a:pt x="87288" y="208359"/>
                  </a:lnTo>
                  <a:lnTo>
                    <a:pt x="33218" y="143470"/>
                  </a:lnTo>
                  <a:cubicBezTo>
                    <a:pt x="28109" y="137032"/>
                    <a:pt x="29188" y="127671"/>
                    <a:pt x="35626" y="122561"/>
                  </a:cubicBezTo>
                  <a:cubicBezTo>
                    <a:pt x="41847" y="117625"/>
                    <a:pt x="50849" y="118443"/>
                    <a:pt x="56078" y="124420"/>
                  </a:cubicBezTo>
                  <a:lnTo>
                    <a:pt x="126028" y="208359"/>
                  </a:lnTo>
                  <a:lnTo>
                    <a:pt x="221278" y="208359"/>
                  </a:lnTo>
                  <a:lnTo>
                    <a:pt x="167208" y="143470"/>
                  </a:lnTo>
                  <a:cubicBezTo>
                    <a:pt x="162099" y="137032"/>
                    <a:pt x="163178" y="127671"/>
                    <a:pt x="169616" y="122561"/>
                  </a:cubicBezTo>
                  <a:cubicBezTo>
                    <a:pt x="175837" y="117625"/>
                    <a:pt x="184839" y="118443"/>
                    <a:pt x="190068" y="124420"/>
                  </a:cubicBezTo>
                  <a:lnTo>
                    <a:pt x="260018" y="208359"/>
                  </a:lnTo>
                  <a:lnTo>
                    <a:pt x="340385" y="208359"/>
                  </a:lnTo>
                  <a:lnTo>
                    <a:pt x="286316" y="143470"/>
                  </a:lnTo>
                  <a:cubicBezTo>
                    <a:pt x="281206" y="137032"/>
                    <a:pt x="282285" y="127671"/>
                    <a:pt x="288724" y="122561"/>
                  </a:cubicBezTo>
                  <a:cubicBezTo>
                    <a:pt x="294945" y="117625"/>
                    <a:pt x="303946" y="118443"/>
                    <a:pt x="309176" y="124420"/>
                  </a:cubicBezTo>
                  <a:lnTo>
                    <a:pt x="379125" y="208359"/>
                  </a:lnTo>
                  <a:lnTo>
                    <a:pt x="459492" y="208359"/>
                  </a:lnTo>
                  <a:lnTo>
                    <a:pt x="405423" y="143470"/>
                  </a:lnTo>
                  <a:cubicBezTo>
                    <a:pt x="400313" y="137032"/>
                    <a:pt x="401392" y="127671"/>
                    <a:pt x="407831" y="122561"/>
                  </a:cubicBezTo>
                  <a:cubicBezTo>
                    <a:pt x="414052" y="117625"/>
                    <a:pt x="423053" y="118443"/>
                    <a:pt x="428283" y="124420"/>
                  </a:cubicBezTo>
                  <a:lnTo>
                    <a:pt x="498232" y="208359"/>
                  </a:lnTo>
                  <a:lnTo>
                    <a:pt x="578599" y="208359"/>
                  </a:lnTo>
                  <a:lnTo>
                    <a:pt x="524530" y="143470"/>
                  </a:lnTo>
                  <a:cubicBezTo>
                    <a:pt x="519421" y="137032"/>
                    <a:pt x="520500" y="127671"/>
                    <a:pt x="526938" y="122561"/>
                  </a:cubicBezTo>
                  <a:cubicBezTo>
                    <a:pt x="533159" y="117625"/>
                    <a:pt x="542160" y="118443"/>
                    <a:pt x="547390" y="124420"/>
                  </a:cubicBezTo>
                  <a:lnTo>
                    <a:pt x="617339" y="208359"/>
                  </a:lnTo>
                  <a:lnTo>
                    <a:pt x="639961" y="208359"/>
                  </a:lnTo>
                  <a:cubicBezTo>
                    <a:pt x="660115" y="208343"/>
                    <a:pt x="679391" y="200116"/>
                    <a:pt x="693346" y="185574"/>
                  </a:cubicBezTo>
                  <a:lnTo>
                    <a:pt x="658282" y="143470"/>
                  </a:lnTo>
                  <a:cubicBezTo>
                    <a:pt x="653021" y="137150"/>
                    <a:pt x="653881" y="127761"/>
                    <a:pt x="660202" y="122500"/>
                  </a:cubicBezTo>
                  <a:cubicBezTo>
                    <a:pt x="666522" y="117239"/>
                    <a:pt x="675910" y="118100"/>
                    <a:pt x="681171" y="124420"/>
                  </a:cubicBezTo>
                  <a:lnTo>
                    <a:pt x="709791" y="158785"/>
                  </a:lnTo>
                  <a:cubicBezTo>
                    <a:pt x="712738" y="150831"/>
                    <a:pt x="714289" y="142427"/>
                    <a:pt x="714375" y="133945"/>
                  </a:cubicBezTo>
                  <a:lnTo>
                    <a:pt x="714375" y="74414"/>
                  </a:lnTo>
                  <a:cubicBezTo>
                    <a:pt x="714289" y="65932"/>
                    <a:pt x="712738" y="57528"/>
                    <a:pt x="709791" y="49575"/>
                  </a:cubicBezTo>
                  <a:close/>
                </a:path>
              </a:pathLst>
            </a:custGeom>
            <a:grpFill/>
            <a:ln w="148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78" name="Rechteck 77">
            <a:extLst>
              <a:ext uri="{FF2B5EF4-FFF2-40B4-BE49-F238E27FC236}">
                <a16:creationId xmlns:a16="http://schemas.microsoft.com/office/drawing/2014/main" id="{18B525FE-7554-4437-A3C3-292CCFBA28FE}"/>
              </a:ext>
            </a:extLst>
          </p:cNvPr>
          <p:cNvSpPr/>
          <p:nvPr/>
        </p:nvSpPr>
        <p:spPr>
          <a:xfrm>
            <a:off x="3740321" y="3524098"/>
            <a:ext cx="192827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BASF’s ChemCycling</a:t>
            </a:r>
            <a:r>
              <a:rPr lang="en-US" b="1" baseline="30000" dirty="0"/>
              <a:t>TM</a:t>
            </a:r>
            <a:r>
              <a:rPr lang="en-US" b="1" dirty="0"/>
              <a:t> project</a:t>
            </a:r>
            <a:endParaRPr lang="de-DE" b="1" dirty="0"/>
          </a:p>
        </p:txBody>
      </p:sp>
      <p:pic>
        <p:nvPicPr>
          <p:cNvPr id="15" name="Grafik 14" descr="Elektroauto">
            <a:extLst>
              <a:ext uri="{FF2B5EF4-FFF2-40B4-BE49-F238E27FC236}">
                <a16:creationId xmlns:a16="http://schemas.microsoft.com/office/drawing/2014/main" id="{EA0AB947-2C72-41E9-AFB2-49A4C24602FE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 l="1070" t="17821" r="82386" b="49391"/>
          <a:stretch/>
        </p:blipFill>
        <p:spPr>
          <a:xfrm>
            <a:off x="2555264" y="3495810"/>
            <a:ext cx="247207" cy="489953"/>
          </a:xfrm>
          <a:prstGeom prst="rect">
            <a:avLst/>
          </a:prstGeom>
        </p:spPr>
      </p:pic>
      <p:sp>
        <p:nvSpPr>
          <p:cNvPr id="25" name="Foliennummernplatzhalter 24">
            <a:extLst>
              <a:ext uri="{FF2B5EF4-FFF2-40B4-BE49-F238E27FC236}">
                <a16:creationId xmlns:a16="http://schemas.microsoft.com/office/drawing/2014/main" id="{2ED9CC51-1D18-4E5E-B6AF-987E08C737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76" name="Grafik 10" descr="Ein Bild, das Tisch, gefüllt, Gruppe, viele enthält.&#10;&#10;Automatisch generierte Beschreibung">
            <a:extLst>
              <a:ext uri="{FF2B5EF4-FFF2-40B4-BE49-F238E27FC236}">
                <a16:creationId xmlns:a16="http://schemas.microsoft.com/office/drawing/2014/main" id="{7C538B37-B5AD-4557-AACD-6F2397728785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57" b="9609"/>
          <a:stretch/>
        </p:blipFill>
        <p:spPr>
          <a:xfrm>
            <a:off x="9493673" y="2759846"/>
            <a:ext cx="2613446" cy="1765545"/>
          </a:xfrm>
          <a:prstGeom prst="rect">
            <a:avLst/>
          </a:prstGeom>
        </p:spPr>
      </p:pic>
      <p:pic>
        <p:nvPicPr>
          <p:cNvPr id="77" name="Grafik 13">
            <a:extLst>
              <a:ext uri="{FF2B5EF4-FFF2-40B4-BE49-F238E27FC236}">
                <a16:creationId xmlns:a16="http://schemas.microsoft.com/office/drawing/2014/main" id="{0B6B0B19-00A6-4E6E-B2E7-18174C6E210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3673" y="731013"/>
            <a:ext cx="2613446" cy="1741141"/>
          </a:xfrm>
          <a:prstGeom prst="rect">
            <a:avLst/>
          </a:prstGeom>
        </p:spPr>
      </p:pic>
      <p:pic>
        <p:nvPicPr>
          <p:cNvPr id="79" name="Imagen 78" descr="Imagen que contiene tabla, cuarto, vivo, parado&#10;&#10;Descripción generada automáticamente">
            <a:extLst>
              <a:ext uri="{FF2B5EF4-FFF2-40B4-BE49-F238E27FC236}">
                <a16:creationId xmlns:a16="http://schemas.microsoft.com/office/drawing/2014/main" id="{FDB5B82B-10F4-46E9-8284-F577908E8BDF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2067" y="4792351"/>
            <a:ext cx="2613446" cy="1606720"/>
          </a:xfrm>
          <a:prstGeom prst="rect">
            <a:avLst/>
          </a:prstGeom>
        </p:spPr>
      </p:pic>
      <p:pic>
        <p:nvPicPr>
          <p:cNvPr id="80" name="Picture 4" descr="Resultado de imagen para ods">
            <a:extLst>
              <a:ext uri="{FF2B5EF4-FFF2-40B4-BE49-F238E27FC236}">
                <a16:creationId xmlns:a16="http://schemas.microsoft.com/office/drawing/2014/main" id="{0443F777-5C02-4070-A946-3A584F30A1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6055" y="76527"/>
            <a:ext cx="592853" cy="592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72013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5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200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5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5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5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2500"/>
                            </p:stCondLst>
                            <p:childTnLst>
                              <p:par>
                                <p:cTn id="8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4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5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5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5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441" grpId="0"/>
      <p:bldP spid="442" grpId="0"/>
      <p:bldP spid="443" grpId="0"/>
      <p:bldP spid="444" grpId="0"/>
      <p:bldP spid="445" grpId="0"/>
      <p:bldP spid="446" grpId="0"/>
      <p:bldP spid="497" grpId="0"/>
      <p:bldP spid="515" grpId="0" animBg="1"/>
      <p:bldP spid="519" grpId="0"/>
      <p:bldP spid="520" grpId="0"/>
      <p:bldP spid="521" grpId="0"/>
      <p:bldGraphic spid="530" grpId="0">
        <p:bldAsOne/>
      </p:bldGraphic>
      <p:bldP spid="541" grpId="0"/>
      <p:bldP spid="542" grpId="0"/>
      <p:bldP spid="17" grpId="0" animBg="1"/>
      <p:bldP spid="7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 descr="Cápsulas Café Residuo 0 - Cafés Novell | NOVUM - YouTube">
            <a:extLst>
              <a:ext uri="{FF2B5EF4-FFF2-40B4-BE49-F238E27FC236}">
                <a16:creationId xmlns:a16="http://schemas.microsoft.com/office/drawing/2014/main" id="{01D48942-AC5F-43FA-B76B-F38FF459C0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6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18306" y="430442"/>
            <a:ext cx="6299452" cy="853200"/>
          </a:xfrm>
        </p:spPr>
        <p:txBody>
          <a:bodyPr/>
          <a:lstStyle/>
          <a:p>
            <a:r>
              <a:rPr lang="en-US" altLang="de-DE" sz="2000" b="0" dirty="0" err="1">
                <a:solidFill>
                  <a:schemeClr val="bg1"/>
                </a:solidFill>
              </a:rPr>
              <a:t>Soluciones</a:t>
            </a:r>
            <a:r>
              <a:rPr lang="en-US" altLang="de-DE" sz="2000" b="0" dirty="0">
                <a:solidFill>
                  <a:schemeClr val="bg1"/>
                </a:solidFill>
              </a:rPr>
              <a:t> para un </a:t>
            </a:r>
            <a:r>
              <a:rPr lang="en-US" altLang="de-DE" sz="2000" b="0" dirty="0" err="1">
                <a:solidFill>
                  <a:schemeClr val="bg1"/>
                </a:solidFill>
              </a:rPr>
              <a:t>futuro</a:t>
            </a:r>
            <a:r>
              <a:rPr lang="en-US" altLang="de-DE" sz="2000" b="0" dirty="0">
                <a:solidFill>
                  <a:schemeClr val="bg1"/>
                </a:solidFill>
              </a:rPr>
              <a:t> </a:t>
            </a:r>
            <a:r>
              <a:rPr lang="en-US" altLang="de-DE" sz="2000" b="0" dirty="0" err="1">
                <a:solidFill>
                  <a:schemeClr val="bg1"/>
                </a:solidFill>
              </a:rPr>
              <a:t>sostenible</a:t>
            </a:r>
            <a:r>
              <a:rPr lang="en-US" altLang="de-DE" sz="2000" b="0" dirty="0">
                <a:solidFill>
                  <a:schemeClr val="bg1"/>
                </a:solidFill>
              </a:rPr>
              <a:t>:</a:t>
            </a:r>
            <a:br>
              <a:rPr lang="en-US" altLang="de-DE" sz="2000" b="0" dirty="0">
                <a:solidFill>
                  <a:schemeClr val="bg1"/>
                </a:solidFill>
              </a:rPr>
            </a:br>
            <a:r>
              <a:rPr lang="en-US" altLang="de-DE" dirty="0" err="1">
                <a:solidFill>
                  <a:schemeClr val="bg1"/>
                </a:solidFill>
              </a:rPr>
              <a:t>Cápsulas</a:t>
            </a:r>
            <a:r>
              <a:rPr lang="en-US" altLang="de-DE" dirty="0">
                <a:solidFill>
                  <a:schemeClr val="bg1"/>
                </a:solidFill>
              </a:rPr>
              <a:t> de café </a:t>
            </a:r>
            <a:br>
              <a:rPr lang="en-US" altLang="de-DE" dirty="0">
                <a:solidFill>
                  <a:schemeClr val="bg1"/>
                </a:solidFill>
              </a:rPr>
            </a:br>
            <a:r>
              <a:rPr lang="en-US" altLang="de-DE" dirty="0" err="1">
                <a:solidFill>
                  <a:schemeClr val="bg1"/>
                </a:solidFill>
              </a:rPr>
              <a:t>Ecovio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F84E35B-50D0-4575-82CC-FFCC941167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6" name="Picture 4" descr="Resultado de imagen para ods">
            <a:extLst>
              <a:ext uri="{FF2B5EF4-FFF2-40B4-BE49-F238E27FC236}">
                <a16:creationId xmlns:a16="http://schemas.microsoft.com/office/drawing/2014/main" id="{A12E32FC-21D3-4249-B37A-03693310B1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9254" y="134015"/>
            <a:ext cx="592853" cy="592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21258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5" name="Picture 7" descr="adidas Futurecraft Loop Phrase 2 Recyclable Shoe | HYPEBEAST">
            <a:extLst>
              <a:ext uri="{FF2B5EF4-FFF2-40B4-BE49-F238E27FC236}">
                <a16:creationId xmlns:a16="http://schemas.microsoft.com/office/drawing/2014/main" id="{517BE809-5E52-4EF4-98CA-F1BB968F66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99364"/>
            <a:ext cx="13677900" cy="8256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E54F3828-5F30-4757-8C52-EC4900BD6B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Diapositiva de think-cell" r:id="rId7" imgW="530" imgH="528" progId="TCLayout.ActiveDocument.1">
                  <p:embed/>
                </p:oleObj>
              </mc:Choice>
              <mc:Fallback>
                <p:oleObj name="Diapositiva de think-cell" r:id="rId7" imgW="530" imgH="52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E54F3828-5F30-4757-8C52-EC4900BD6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17A80662-8788-4ADA-8BA5-730F5C3098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sz="2000" b="0" dirty="0" err="1"/>
              <a:t>Soluciones</a:t>
            </a:r>
            <a:r>
              <a:rPr lang="en-US" altLang="de-DE" sz="2000" b="0" dirty="0"/>
              <a:t> para un future </a:t>
            </a:r>
            <a:r>
              <a:rPr lang="en-US" altLang="de-DE" sz="2000" b="0" dirty="0" err="1"/>
              <a:t>sostenible</a:t>
            </a:r>
            <a:r>
              <a:rPr lang="en-US" altLang="de-DE" sz="2000" b="0" dirty="0"/>
              <a:t>:</a:t>
            </a:r>
            <a:br>
              <a:rPr lang="en-US" altLang="de-DE" b="0" dirty="0"/>
            </a:br>
            <a:r>
              <a:rPr lang="es-ES" altLang="de-DE" dirty="0"/>
              <a:t>Adidas </a:t>
            </a:r>
            <a:r>
              <a:rPr lang="es-ES" altLang="de-DE" dirty="0" err="1"/>
              <a:t>FutureCraft</a:t>
            </a:r>
            <a:endParaRPr lang="es-ES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F84E35B-50D0-4575-82CC-FFCC941167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es-ES" smtClean="0"/>
              <a:pPr/>
              <a:t>9</a:t>
            </a:fld>
            <a:endParaRPr lang="es-ES"/>
          </a:p>
        </p:txBody>
      </p:sp>
      <p:pic>
        <p:nvPicPr>
          <p:cNvPr id="7" name="Picture 4" descr="Resultado de imagen para ods">
            <a:extLst>
              <a:ext uri="{FF2B5EF4-FFF2-40B4-BE49-F238E27FC236}">
                <a16:creationId xmlns:a16="http://schemas.microsoft.com/office/drawing/2014/main" id="{4E4B642D-988F-4AFD-A89B-6E8DFA124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6593" y="301450"/>
            <a:ext cx="592853" cy="592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34991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11119017/0/13803553/14926965/15455387/16314330/////////"/>
  <p:tag name="WIZCOLOR2" val="16777215/0/11119017/0/13803553/14926965/15455387/16314330/////////"/>
  <p:tag name="THINKCELLUNDODONOTDELETE" val="1"/>
  <p:tag name="_BASF_WIZARD_LAYOUTID" val="258"/>
  <p:tag name="_BASF_WIZARD_VERSION" val="7.1.0"/>
  <p:tag name="_BASF_WIZARD_OBJEKTTITELID" val="120"/>
  <p:tag name="_BASF_WIZARD_OBJEKTFOLIEID" val="110"/>
  <p:tag name="_BASF_WIZARD_GROUPID" val="0"/>
  <p:tag name="_BASF_CONVERTED_TO_TAGS" val="1"/>
  <p:tag name="_BASF_CLASSIFICATION_LANGUAGE" val="1031"/>
  <p:tag name="_BASF_CLASSIFICATION" val="0"/>
  <p:tag name="_WIZ_TASKPANE_VISIBLE" val="0"/>
  <p:tag name="_WIZ_TASKPANE_WIDTH" val="446"/>
  <p:tag name="ARTICULATE_DESIGN_ID_BASF_TITELDESIGN_V10" val="DZKyz0vh"/>
  <p:tag name="ARTICULATE_SLIDE_COUNT" val="16"/>
  <p:tag name="ARTICULATE_PROJECT_OPEN" val="0"/>
  <p:tag name="ARTICULATE_DESIGN_ID_BASF_FOLIENDESIGN_V10" val="29tr43X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LSB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QT8BVBs1jSGWFBtjDt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ozZxs8SBSnV1TXoux3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QcSgYoSKSYIwqefTPLhQ"/>
</p:tagLst>
</file>

<file path=ppt/theme/theme1.xml><?xml version="1.0" encoding="utf-8"?>
<a:theme xmlns:a="http://schemas.openxmlformats.org/drawingml/2006/main" name="BASF_TitelDesign_V10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2" id="{827120CD-2792-4029-A5EB-3D299B677424}" vid="{BBCD8831-B097-48FB-9138-2D5E5E4C3819}"/>
    </a:ext>
  </a:extLst>
</a:theme>
</file>

<file path=ppt/theme/theme2.xml><?xml version="1.0" encoding="utf-8"?>
<a:theme xmlns:a="http://schemas.openxmlformats.org/drawingml/2006/main" name="BASF_FolienDesign_V10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2" id="{827120CD-2792-4029-A5EB-3D299B677424}" vid="{4BA269BF-ABA3-41A8-8325-4FA9663B8BA1}"/>
    </a:ext>
  </a:extLst>
</a:theme>
</file>

<file path=ppt/theme/theme3.xml><?xml version="1.0" encoding="utf-8"?>
<a:theme xmlns:a="http://schemas.openxmlformats.org/drawingml/2006/main" name="BASF_Finale_V10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BASF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F_Finale_V10" id="{03DD7B2E-C5B6-4C75-BDCC-F89119E3C33D}" vid="{A04FD191-080D-494D-B2DB-800F6FA11398}"/>
    </a:ext>
  </a:extLst>
</a:theme>
</file>

<file path=ppt/theme/theme4.xml><?xml version="1.0" encoding="utf-8"?>
<a:theme xmlns:a="http://schemas.openxmlformats.org/drawingml/2006/main" name="Larissa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Larissa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2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3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4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5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6.xml><?xml version="1.0" encoding="utf-8"?>
<a:themeOverride xmlns:a="http://schemas.openxmlformats.org/drawingml/2006/main">
  <a:clrScheme name="02 BASF lightblue_colorsheme">
    <a:dk1>
      <a:srgbClr val="000000"/>
    </a:dk1>
    <a:lt1>
      <a:srgbClr val="FFFFFF"/>
    </a:lt1>
    <a:dk2>
      <a:srgbClr val="035FA9"/>
    </a:dk2>
    <a:lt2>
      <a:srgbClr val="FFFFFF"/>
    </a:lt2>
    <a:accent1>
      <a:srgbClr val="21A0D2"/>
    </a:accent1>
    <a:accent2>
      <a:srgbClr val="4EABD6"/>
    </a:accent2>
    <a:accent3>
      <a:srgbClr val="75C4E3"/>
    </a:accent3>
    <a:accent4>
      <a:srgbClr val="9BD4EB"/>
    </a:accent4>
    <a:accent5>
      <a:srgbClr val="DAEFF8"/>
    </a:accent5>
    <a:accent6>
      <a:srgbClr val="808080"/>
    </a:accent6>
    <a:hlink>
      <a:srgbClr val="0000FF"/>
    </a:hlink>
    <a:folHlink>
      <a:srgbClr val="800080"/>
    </a:folHlink>
  </a:clrScheme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20D79F4DD6874284C3F94F4A1380B1" ma:contentTypeVersion="10" ma:contentTypeDescription="Create a new document." ma:contentTypeScope="" ma:versionID="97fb49f98c5d9987b135e7178996285a">
  <xsd:schema xmlns:xsd="http://www.w3.org/2001/XMLSchema" xmlns:xs="http://www.w3.org/2001/XMLSchema" xmlns:p="http://schemas.microsoft.com/office/2006/metadata/properties" xmlns:ns3="6bf1db1e-d343-4aa0-bbb3-8d1a279e1d7d" targetNamespace="http://schemas.microsoft.com/office/2006/metadata/properties" ma:root="true" ma:fieldsID="c29ecced2bf0e070e0954d35b80da00f" ns3:_="">
    <xsd:import namespace="6bf1db1e-d343-4aa0-bbb3-8d1a279e1d7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f1db1e-d343-4aa0-bbb3-8d1a279e1d7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02F355-A006-4F33-85A6-2099A06A01B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D1D3A5F-E058-454E-A8F3-9415A7602D3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4B5B3A0-B667-47BF-86B3-1514FED33B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bf1db1e-d343-4aa0-bbb3-8d1a279e1d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97</Words>
  <Application>Microsoft Office PowerPoint</Application>
  <PresentationFormat>Personalizado</PresentationFormat>
  <Paragraphs>113</Paragraphs>
  <Slides>10</Slides>
  <Notes>5</Notes>
  <HiddenSlides>1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0</vt:i4>
      </vt:variant>
    </vt:vector>
  </HeadingPairs>
  <TitlesOfParts>
    <vt:vector size="19" baseType="lpstr">
      <vt:lpstr>Arial</vt:lpstr>
      <vt:lpstr>Helvetica Neue LT W06 55 Roman</vt:lpstr>
      <vt:lpstr>Wingdings</vt:lpstr>
      <vt:lpstr>Wingdings 3</vt:lpstr>
      <vt:lpstr>BASF_TitelDesign_V10</vt:lpstr>
      <vt:lpstr>BASF_FolienDesign_V10</vt:lpstr>
      <vt:lpstr>BASF_Finale_V10</vt:lpstr>
      <vt:lpstr>Diapositiva de think-cell</vt:lpstr>
      <vt:lpstr>think-cell Folie</vt:lpstr>
      <vt:lpstr>Presentación de PowerPoint</vt:lpstr>
      <vt:lpstr>Hay asuntos relevantes que continuan en la «nueva normalidad»</vt:lpstr>
      <vt:lpstr>Nuestro propósito Creamos química para un futuro sostenible   </vt:lpstr>
      <vt:lpstr>Sostenibilidad en toda la cadena de suministros</vt:lpstr>
      <vt:lpstr>Presentación de PowerPoint</vt:lpstr>
      <vt:lpstr>Presentación de PowerPoint</vt:lpstr>
      <vt:lpstr>Proyecto ChemCyclingTM Abriendo nuevos caminos en el reciclaje de residuos plásticos</vt:lpstr>
      <vt:lpstr>Soluciones para un futuro sostenible: Cápsulas de café  Ecovio</vt:lpstr>
      <vt:lpstr>Soluciones para un future sostenible: Adidas FutureCraft</vt:lpstr>
      <vt:lpstr>Presentación de PowerPoint</vt:lpstr>
    </vt:vector>
  </TitlesOfParts>
  <Company>BASF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Jaeger</dc:creator>
  <cp:keywords>19865-05</cp:keywords>
  <cp:lastModifiedBy>IVAN ALBERTOS GARCIA</cp:lastModifiedBy>
  <cp:revision>397</cp:revision>
  <cp:lastPrinted>2020-09-16T09:39:40Z</cp:lastPrinted>
  <dcterms:created xsi:type="dcterms:W3CDTF">2012-05-08T13:55:24Z</dcterms:created>
  <dcterms:modified xsi:type="dcterms:W3CDTF">2020-10-01T09:1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_to_AIP">
    <vt:i4>0</vt:i4>
  </property>
  <property fmtid="{D5CDD505-2E9C-101B-9397-08002B2CF9AE}" pid="3" name="ArticulateGUID">
    <vt:lpwstr>FBC898CD-2980-412F-84B1-30649732DF6B</vt:lpwstr>
  </property>
  <property fmtid="{D5CDD505-2E9C-101B-9397-08002B2CF9AE}" pid="4" name="ArticulatePath">
    <vt:lpwstr>19865-01_ASF PU Recycling_V4</vt:lpwstr>
  </property>
  <property fmtid="{D5CDD505-2E9C-101B-9397-08002B2CF9AE}" pid="5" name="ContentTypeId">
    <vt:lpwstr>0x0101009320D79F4DD6874284C3F94F4A1380B1</vt:lpwstr>
  </property>
</Properties>
</file>